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87" r:id="rId2"/>
    <p:sldId id="340" r:id="rId3"/>
    <p:sldId id="351" r:id="rId4"/>
    <p:sldId id="344" r:id="rId5"/>
    <p:sldId id="352" r:id="rId6"/>
    <p:sldId id="375" r:id="rId7"/>
    <p:sldId id="354" r:id="rId8"/>
    <p:sldId id="367" r:id="rId9"/>
    <p:sldId id="370" r:id="rId10"/>
    <p:sldId id="373" r:id="rId11"/>
    <p:sldId id="376" r:id="rId12"/>
    <p:sldId id="360" r:id="rId13"/>
    <p:sldId id="361" r:id="rId14"/>
    <p:sldId id="362" r:id="rId15"/>
    <p:sldId id="363" r:id="rId16"/>
    <p:sldId id="364" r:id="rId17"/>
    <p:sldId id="350" r:id="rId18"/>
    <p:sldId id="309" r:id="rId1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344E"/>
    <a:srgbClr val="8B4D80"/>
    <a:srgbClr val="C80E2D"/>
    <a:srgbClr val="CC3399"/>
    <a:srgbClr val="DBBE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93783" autoAdjust="0"/>
  </p:normalViewPr>
  <p:slideViewPr>
    <p:cSldViewPr snapToGrid="0">
      <p:cViewPr>
        <p:scale>
          <a:sx n="70" d="100"/>
          <a:sy n="70" d="100"/>
        </p:scale>
        <p:origin x="-738" y="-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8B4D80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800" b="1" dirty="0" smtClean="0"/>
                      <a:t>6,6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96F-4E73-8B56-F234325A976D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800" b="1" dirty="0" smtClean="0"/>
                      <a:t>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96F-4E73-8B56-F234325A976D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800" b="1" dirty="0" smtClean="0"/>
                      <a:t>7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96F-4E73-8B56-F234325A976D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800" b="1" dirty="0" smtClean="0"/>
                      <a:t>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96F-4E73-8B56-F234325A976D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800" b="1" dirty="0" smtClean="0"/>
                      <a:t>8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F96F-4E73-8B56-F234325A976D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2800" b="1" dirty="0" smtClean="0"/>
                      <a:t>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F96F-4E73-8B56-F234325A976D}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2800" b="1" dirty="0" smtClean="0"/>
                      <a:t>1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96F-4E73-8B56-F234325A97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6.65</c:v>
                </c:pt>
                <c:pt idx="1">
                  <c:v>7</c:v>
                </c:pt>
                <c:pt idx="2">
                  <c:v>7.5</c:v>
                </c:pt>
                <c:pt idx="3">
                  <c:v>8</c:v>
                </c:pt>
                <c:pt idx="4">
                  <c:v>8.5</c:v>
                </c:pt>
                <c:pt idx="5">
                  <c:v>9</c:v>
                </c:pt>
                <c:pt idx="6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87F-46AD-ABAF-9FA10D420D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2234368"/>
        <c:axId val="107741184"/>
      </c:barChart>
      <c:catAx>
        <c:axId val="102234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7741184"/>
        <c:crosses val="autoZero"/>
        <c:auto val="1"/>
        <c:lblAlgn val="ctr"/>
        <c:lblOffset val="100"/>
        <c:noMultiLvlLbl val="0"/>
      </c:catAx>
      <c:valAx>
        <c:axId val="1077411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22343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A2344E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800" b="1" dirty="0"/>
                      <a:t>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067-48F0-8060-B82025856AF5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800" b="1" dirty="0"/>
                      <a:t>5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067-48F0-8060-B82025856AF5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2800" b="1" dirty="0"/>
                      <a:t>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6067-48F0-8060-B82025856AF5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2800" b="1" dirty="0"/>
                      <a:t>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067-48F0-8060-B82025856AF5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800" b="1" dirty="0"/>
                      <a:t>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6067-48F0-8060-B82025856AF5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2800" b="1" dirty="0"/>
                      <a:t>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6067-48F0-8060-B82025856AF5}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2800" b="1"/>
                      <a:t>1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6067-48F0-8060-B82025856A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5</c:v>
                </c:pt>
                <c:pt idx="1">
                  <c:v>5.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FBC-4C1B-A4F2-F94CD1DDBC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7788928"/>
        <c:axId val="107794816"/>
      </c:barChart>
      <c:catAx>
        <c:axId val="10778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7794816"/>
        <c:crosses val="autoZero"/>
        <c:auto val="1"/>
        <c:lblAlgn val="ctr"/>
        <c:lblOffset val="100"/>
        <c:noMultiLvlLbl val="0"/>
      </c:catAx>
      <c:valAx>
        <c:axId val="1077948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7788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0C7825-A0B1-4BF9-AF53-985B97DD8AB3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E7CEFF1-D0F9-48C2-837B-17B7143983C6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b="1" dirty="0" smtClean="0">
              <a:latin typeface="+mn-lt"/>
              <a:cs typeface="Arial" pitchFamily="34" charset="0"/>
            </a:rPr>
            <a:t>С</a:t>
          </a:r>
          <a:r>
            <a:rPr lang="kk-KZ" sz="1800" b="1" dirty="0" smtClean="0">
              <a:latin typeface="+mn-lt"/>
              <a:cs typeface="Arial" pitchFamily="34" charset="0"/>
            </a:rPr>
            <a:t>оздание диалоговых площадок между разными стейкхолдерами </a:t>
          </a:r>
          <a:endParaRPr lang="ru-RU" sz="1800" dirty="0">
            <a:latin typeface="+mn-lt"/>
          </a:endParaRPr>
        </a:p>
      </dgm:t>
    </dgm:pt>
    <dgm:pt modelId="{B6C0B74B-0747-45A5-B09B-C4F527C28C8F}" type="parTrans" cxnId="{AC68F37E-3F15-4114-81F8-54CB65A27720}">
      <dgm:prSet/>
      <dgm:spPr/>
      <dgm:t>
        <a:bodyPr/>
        <a:lstStyle/>
        <a:p>
          <a:endParaRPr lang="ru-RU"/>
        </a:p>
      </dgm:t>
    </dgm:pt>
    <dgm:pt modelId="{1F3929D8-F6D5-40D1-A1E0-0BD0BF46D201}" type="sibTrans" cxnId="{AC68F37E-3F15-4114-81F8-54CB65A27720}">
      <dgm:prSet/>
      <dgm:spPr/>
      <dgm:t>
        <a:bodyPr/>
        <a:lstStyle/>
        <a:p>
          <a:endParaRPr lang="ru-RU"/>
        </a:p>
      </dgm:t>
    </dgm:pt>
    <dgm:pt modelId="{FEA5E301-0185-476E-B3DA-A9A928578EFE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b="1" dirty="0" smtClean="0">
              <a:latin typeface="+mn-lt"/>
              <a:cs typeface="Arial" pitchFamily="34" charset="0"/>
            </a:rPr>
            <a:t>Повышение качества образования и профессиональной подготовки кадров</a:t>
          </a:r>
          <a:endParaRPr lang="ru-RU" sz="1800" b="1" dirty="0">
            <a:latin typeface="+mn-lt"/>
          </a:endParaRPr>
        </a:p>
      </dgm:t>
    </dgm:pt>
    <dgm:pt modelId="{5B0EBA06-1FB6-43D5-851C-484305BF7C5A}" type="parTrans" cxnId="{E3492706-6A10-42F2-BF65-1E003B7671CD}">
      <dgm:prSet/>
      <dgm:spPr/>
      <dgm:t>
        <a:bodyPr/>
        <a:lstStyle/>
        <a:p>
          <a:endParaRPr lang="ru-RU"/>
        </a:p>
      </dgm:t>
    </dgm:pt>
    <dgm:pt modelId="{083E797F-0857-444E-A9B6-00432595E406}" type="sibTrans" cxnId="{E3492706-6A10-42F2-BF65-1E003B7671CD}">
      <dgm:prSet/>
      <dgm:spPr/>
      <dgm:t>
        <a:bodyPr/>
        <a:lstStyle/>
        <a:p>
          <a:endParaRPr lang="ru-RU"/>
        </a:p>
      </dgm:t>
    </dgm:pt>
    <dgm:pt modelId="{BFD5B4EE-AB8A-43A9-A49E-9537FF7BF9AA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b="1" dirty="0" smtClean="0">
              <a:latin typeface="+mn-lt"/>
              <a:cs typeface="Arial" pitchFamily="34" charset="0"/>
            </a:rPr>
            <a:t>Повышение конкурентоспособности ВУЗов </a:t>
          </a:r>
          <a:r>
            <a:rPr lang="ru-RU" sz="1800" b="1" dirty="0" smtClean="0">
              <a:latin typeface="+mn-lt"/>
              <a:ea typeface="+mn-ea"/>
              <a:cs typeface="Arial" pitchFamily="34" charset="0"/>
            </a:rPr>
            <a:t>  </a:t>
          </a:r>
          <a:endParaRPr lang="ru-RU" sz="1800" b="1" dirty="0">
            <a:latin typeface="+mn-lt"/>
            <a:ea typeface="+mn-ea"/>
            <a:cs typeface="Arial" pitchFamily="34" charset="0"/>
          </a:endParaRPr>
        </a:p>
      </dgm:t>
    </dgm:pt>
    <dgm:pt modelId="{12FFEFB7-874A-4AC3-8A73-A48A5689F8B9}" type="parTrans" cxnId="{865DF669-BFFB-4A06-BDF0-369DB621DED1}">
      <dgm:prSet/>
      <dgm:spPr/>
      <dgm:t>
        <a:bodyPr/>
        <a:lstStyle/>
        <a:p>
          <a:endParaRPr lang="ru-RU"/>
        </a:p>
      </dgm:t>
    </dgm:pt>
    <dgm:pt modelId="{268CE913-95ED-4695-9A0E-50E6CB7A8641}" type="sibTrans" cxnId="{865DF669-BFFB-4A06-BDF0-369DB621DED1}">
      <dgm:prSet/>
      <dgm:spPr/>
      <dgm:t>
        <a:bodyPr/>
        <a:lstStyle/>
        <a:p>
          <a:endParaRPr lang="ru-RU"/>
        </a:p>
      </dgm:t>
    </dgm:pt>
    <dgm:pt modelId="{07778A3A-0420-4B71-B9A4-01E97721476B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b="1" dirty="0" smtClean="0">
              <a:latin typeface="+mn-lt"/>
              <a:cs typeface="Arial" pitchFamily="34" charset="0"/>
            </a:rPr>
            <a:t>Формирование рекомендаций по определению профильных предметов</a:t>
          </a:r>
          <a:endParaRPr lang="ru-RU" sz="1800" b="1" dirty="0">
            <a:latin typeface="+mn-lt"/>
            <a:ea typeface="+mn-ea"/>
            <a:cs typeface="Arial" pitchFamily="34" charset="0"/>
          </a:endParaRPr>
        </a:p>
      </dgm:t>
    </dgm:pt>
    <dgm:pt modelId="{42309C35-1338-47F0-A2FB-7D73D39262C5}" type="parTrans" cxnId="{F09294F1-221F-4806-9C79-026E08BA9A19}">
      <dgm:prSet/>
      <dgm:spPr/>
      <dgm:t>
        <a:bodyPr/>
        <a:lstStyle/>
        <a:p>
          <a:endParaRPr lang="ru-RU"/>
        </a:p>
      </dgm:t>
    </dgm:pt>
    <dgm:pt modelId="{E572745A-A217-4A07-9CB3-4F77F39E3517}" type="sibTrans" cxnId="{F09294F1-221F-4806-9C79-026E08BA9A19}">
      <dgm:prSet/>
      <dgm:spPr/>
      <dgm:t>
        <a:bodyPr/>
        <a:lstStyle/>
        <a:p>
          <a:endParaRPr lang="ru-RU"/>
        </a:p>
      </dgm:t>
    </dgm:pt>
    <dgm:pt modelId="{4055490E-66AF-4F65-AEF8-11169866A16C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dirty="0" smtClean="0">
              <a:latin typeface="+mn-lt"/>
              <a:cs typeface="Arial" pitchFamily="34" charset="0"/>
            </a:rPr>
            <a:t>Проведение семинаров-тренингов, мероприятий </a:t>
          </a:r>
          <a:r>
            <a:rPr lang="kk-KZ" sz="1800" dirty="0" smtClean="0">
              <a:latin typeface="+mn-lt"/>
              <a:cs typeface="Arial" pitchFamily="34" charset="0"/>
            </a:rPr>
            <a:t>для обсуждения современных трендов развития образования и комплексного обновления ОП;</a:t>
          </a:r>
          <a:endParaRPr lang="ru-RU" sz="1800" dirty="0">
            <a:latin typeface="+mn-lt"/>
          </a:endParaRPr>
        </a:p>
      </dgm:t>
    </dgm:pt>
    <dgm:pt modelId="{B62F3CA0-D45B-4AFB-9D11-6C481FE311BA}" type="parTrans" cxnId="{2517BD58-401B-4FE6-ADDB-8F39EBB80E0C}">
      <dgm:prSet/>
      <dgm:spPr/>
      <dgm:t>
        <a:bodyPr/>
        <a:lstStyle/>
        <a:p>
          <a:endParaRPr lang="ru-RU"/>
        </a:p>
      </dgm:t>
    </dgm:pt>
    <dgm:pt modelId="{C2A39BA1-7D4F-4503-974D-E022B4F595E5}" type="sibTrans" cxnId="{2517BD58-401B-4FE6-ADDB-8F39EBB80E0C}">
      <dgm:prSet/>
      <dgm:spPr/>
      <dgm:t>
        <a:bodyPr/>
        <a:lstStyle/>
        <a:p>
          <a:endParaRPr lang="ru-RU"/>
        </a:p>
      </dgm:t>
    </dgm:pt>
    <dgm:pt modelId="{B1C491D2-B381-42A2-A5EE-FFD1759760BD}">
      <dgm:prSet phldrT="[Текст]" custT="1"/>
      <dgm:spPr>
        <a:solidFill>
          <a:schemeClr val="bg1"/>
        </a:solidFill>
        <a:ln w="19050">
          <a:solidFill>
            <a:srgbClr val="8B4D80"/>
          </a:solidFill>
        </a:ln>
      </dgm:spPr>
      <dgm:t>
        <a:bodyPr/>
        <a:lstStyle/>
        <a:p>
          <a:r>
            <a:rPr lang="ru-RU" sz="1800" dirty="0" smtClean="0">
              <a:latin typeface="+mn-lt"/>
              <a:cs typeface="Arial" pitchFamily="34" charset="0"/>
            </a:rPr>
            <a:t>Включение в членство работодателей, ведущих ученых и ППС из других вузов, Назарбаев Университета и НИШ, зарубежных партнеров.</a:t>
          </a:r>
          <a:endParaRPr lang="ru-RU" sz="1800" dirty="0">
            <a:latin typeface="+mn-lt"/>
            <a:ea typeface="+mn-ea"/>
            <a:cs typeface="Arial" pitchFamily="34" charset="0"/>
          </a:endParaRPr>
        </a:p>
      </dgm:t>
    </dgm:pt>
    <dgm:pt modelId="{65629833-0EAE-4BC9-9F4E-09892B7416A7}" type="parTrans" cxnId="{A7732B54-E5EA-488F-93E0-25055E4F929D}">
      <dgm:prSet/>
      <dgm:spPr/>
      <dgm:t>
        <a:bodyPr/>
        <a:lstStyle/>
        <a:p>
          <a:endParaRPr lang="ru-RU"/>
        </a:p>
      </dgm:t>
    </dgm:pt>
    <dgm:pt modelId="{BFB7AC50-D69B-4EAB-9E93-062670E28B7C}" type="sibTrans" cxnId="{A7732B54-E5EA-488F-93E0-25055E4F929D}">
      <dgm:prSet/>
      <dgm:spPr/>
      <dgm:t>
        <a:bodyPr/>
        <a:lstStyle/>
        <a:p>
          <a:endParaRPr lang="ru-RU"/>
        </a:p>
      </dgm:t>
    </dgm:pt>
    <dgm:pt modelId="{362856FD-3ED2-47D1-BFD8-B92C4126A974}">
      <dgm:prSet phldrT="[Текст]" custT="1"/>
      <dgm:spPr>
        <a:solidFill>
          <a:srgbClr val="8B4D80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2000" b="1" dirty="0" smtClean="0">
              <a:solidFill>
                <a:schemeClr val="bg1"/>
              </a:solidFill>
              <a:latin typeface="+mn-lt"/>
            </a:rPr>
            <a:t>Задачи:</a:t>
          </a:r>
          <a:endParaRPr lang="ru-RU" sz="2000" dirty="0">
            <a:solidFill>
              <a:schemeClr val="bg1"/>
            </a:solidFill>
            <a:latin typeface="+mn-lt"/>
          </a:endParaRPr>
        </a:p>
      </dgm:t>
    </dgm:pt>
    <dgm:pt modelId="{0A09DAD3-55C2-4221-9B87-2E96F7B9EE97}" type="parTrans" cxnId="{1DF2A7CC-15A0-4B5B-9231-C04D8873570A}">
      <dgm:prSet/>
      <dgm:spPr/>
      <dgm:t>
        <a:bodyPr/>
        <a:lstStyle/>
        <a:p>
          <a:endParaRPr lang="ru-RU"/>
        </a:p>
      </dgm:t>
    </dgm:pt>
    <dgm:pt modelId="{BE4E72B6-9223-4F3A-80C9-11252AFCED25}" type="sibTrans" cxnId="{1DF2A7CC-15A0-4B5B-9231-C04D8873570A}">
      <dgm:prSet/>
      <dgm:spPr/>
      <dgm:t>
        <a:bodyPr/>
        <a:lstStyle/>
        <a:p>
          <a:endParaRPr lang="ru-RU"/>
        </a:p>
      </dgm:t>
    </dgm:pt>
    <dgm:pt modelId="{347FB8FA-6C5C-442B-8830-A619235BDF4F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dirty="0" smtClean="0">
              <a:latin typeface="+mn-lt"/>
              <a:cs typeface="Arial" pitchFamily="34" charset="0"/>
            </a:rPr>
            <a:t>Проведение исследования потребности рынка труда;</a:t>
          </a:r>
          <a:endParaRPr lang="ru-RU" sz="1800" b="1" dirty="0">
            <a:latin typeface="+mn-lt"/>
          </a:endParaRPr>
        </a:p>
      </dgm:t>
    </dgm:pt>
    <dgm:pt modelId="{3FA0163F-EA4B-429F-8976-1F64E89876B5}" type="parTrans" cxnId="{DA6B33F8-7865-4BE1-ABB7-86D7E4AE64FA}">
      <dgm:prSet/>
      <dgm:spPr/>
      <dgm:t>
        <a:bodyPr/>
        <a:lstStyle/>
        <a:p>
          <a:endParaRPr lang="ru-RU"/>
        </a:p>
      </dgm:t>
    </dgm:pt>
    <dgm:pt modelId="{EA0E1B81-C404-49F5-BE97-C7A66908727D}" type="sibTrans" cxnId="{DA6B33F8-7865-4BE1-ABB7-86D7E4AE64FA}">
      <dgm:prSet/>
      <dgm:spPr/>
      <dgm:t>
        <a:bodyPr/>
        <a:lstStyle/>
        <a:p>
          <a:endParaRPr lang="ru-RU"/>
        </a:p>
      </dgm:t>
    </dgm:pt>
    <dgm:pt modelId="{F224DEE0-3A75-4B60-8404-2FBAF7BAA01C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dirty="0" smtClean="0">
              <a:latin typeface="+mn-lt"/>
              <a:cs typeface="Arial" pitchFamily="34" charset="0"/>
            </a:rPr>
            <a:t>Распространение результатов исследования между другими участниками УМО; </a:t>
          </a:r>
          <a:endParaRPr lang="ru-RU" sz="1800" dirty="0">
            <a:latin typeface="+mn-lt"/>
            <a:cs typeface="Arial" pitchFamily="34" charset="0"/>
          </a:endParaRPr>
        </a:p>
      </dgm:t>
    </dgm:pt>
    <dgm:pt modelId="{FD7130E2-314D-45A7-85CC-7E2B224E1FD5}" type="parTrans" cxnId="{F563222F-EA9C-4134-B6C1-2FD3A844E853}">
      <dgm:prSet/>
      <dgm:spPr/>
      <dgm:t>
        <a:bodyPr/>
        <a:lstStyle/>
        <a:p>
          <a:endParaRPr lang="ru-RU"/>
        </a:p>
      </dgm:t>
    </dgm:pt>
    <dgm:pt modelId="{CBB1A65D-45C6-4B91-A530-E18F7231BD41}" type="sibTrans" cxnId="{F563222F-EA9C-4134-B6C1-2FD3A844E853}">
      <dgm:prSet/>
      <dgm:spPr/>
      <dgm:t>
        <a:bodyPr/>
        <a:lstStyle/>
        <a:p>
          <a:endParaRPr lang="ru-RU"/>
        </a:p>
      </dgm:t>
    </dgm:pt>
    <dgm:pt modelId="{2D7B29CE-3103-42EB-B7F7-8ED5A6B9F1DE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dirty="0" smtClean="0">
              <a:latin typeface="+mn-lt"/>
              <a:cs typeface="Arial" pitchFamily="34" charset="0"/>
            </a:rPr>
            <a:t>Выработка единых подходов к разработке и совершенствованию ОП с учетом рынка труда;</a:t>
          </a:r>
          <a:endParaRPr lang="ru-RU" sz="1800" dirty="0">
            <a:latin typeface="+mn-lt"/>
            <a:cs typeface="Arial" pitchFamily="34" charset="0"/>
          </a:endParaRPr>
        </a:p>
      </dgm:t>
    </dgm:pt>
    <dgm:pt modelId="{BC9561B5-D6AE-4B2D-B275-D388093C18F3}" type="parTrans" cxnId="{F69ED910-371A-4F89-BA4B-BC387D610AEB}">
      <dgm:prSet/>
      <dgm:spPr/>
      <dgm:t>
        <a:bodyPr/>
        <a:lstStyle/>
        <a:p>
          <a:endParaRPr lang="ru-RU"/>
        </a:p>
      </dgm:t>
    </dgm:pt>
    <dgm:pt modelId="{8A2365D2-DBD2-4A86-9168-954B0832B0B2}" type="sibTrans" cxnId="{F69ED910-371A-4F89-BA4B-BC387D610AEB}">
      <dgm:prSet/>
      <dgm:spPr/>
      <dgm:t>
        <a:bodyPr/>
        <a:lstStyle/>
        <a:p>
          <a:endParaRPr lang="ru-RU"/>
        </a:p>
      </dgm:t>
    </dgm:pt>
    <dgm:pt modelId="{112E7D09-25DF-48F5-A7D8-542E5AAEC89C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dirty="0" smtClean="0">
              <a:latin typeface="+mn-lt"/>
              <a:cs typeface="Arial" pitchFamily="34" charset="0"/>
            </a:rPr>
            <a:t>Рекомендация по применению </a:t>
          </a:r>
          <a:r>
            <a:rPr lang="ru-RU" sz="1800" dirty="0" err="1" smtClean="0">
              <a:latin typeface="+mn-lt"/>
              <a:cs typeface="Arial" pitchFamily="34" charset="0"/>
            </a:rPr>
            <a:t>профстандартов</a:t>
          </a:r>
          <a:r>
            <a:rPr lang="ru-RU" sz="1800" dirty="0" smtClean="0">
              <a:latin typeface="+mn-lt"/>
              <a:cs typeface="Arial" pitchFamily="34" charset="0"/>
            </a:rPr>
            <a:t> и ОРК при разработке ОП;</a:t>
          </a:r>
          <a:endParaRPr lang="ru-RU" sz="1800" dirty="0">
            <a:latin typeface="+mn-lt"/>
            <a:cs typeface="Arial" pitchFamily="34" charset="0"/>
          </a:endParaRPr>
        </a:p>
      </dgm:t>
    </dgm:pt>
    <dgm:pt modelId="{76428F3B-23AB-423F-8E5F-296FC949304A}" type="parTrans" cxnId="{D8148BE8-D6DB-4216-9E4C-DA5615665950}">
      <dgm:prSet/>
      <dgm:spPr/>
      <dgm:t>
        <a:bodyPr/>
        <a:lstStyle/>
        <a:p>
          <a:endParaRPr lang="ru-RU"/>
        </a:p>
      </dgm:t>
    </dgm:pt>
    <dgm:pt modelId="{34514A20-1288-47C9-9B52-9AF0DCE87675}" type="sibTrans" cxnId="{D8148BE8-D6DB-4216-9E4C-DA5615665950}">
      <dgm:prSet/>
      <dgm:spPr/>
      <dgm:t>
        <a:bodyPr/>
        <a:lstStyle/>
        <a:p>
          <a:endParaRPr lang="ru-RU"/>
        </a:p>
      </dgm:t>
    </dgm:pt>
    <dgm:pt modelId="{9469EFF0-4258-4933-9BEA-BB229341A932}">
      <dgm:prSet phldrT="[Текст]" custT="1"/>
      <dgm:spPr>
        <a:solidFill>
          <a:schemeClr val="bg1"/>
        </a:solidFill>
        <a:ln>
          <a:solidFill>
            <a:srgbClr val="8B4D80"/>
          </a:solidFill>
        </a:ln>
      </dgm:spPr>
      <dgm:t>
        <a:bodyPr/>
        <a:lstStyle/>
        <a:p>
          <a:r>
            <a:rPr lang="ru-RU" sz="1800" dirty="0" smtClean="0">
              <a:latin typeface="+mn-lt"/>
              <a:cs typeface="Arial" pitchFamily="34" charset="0"/>
            </a:rPr>
            <a:t>Разъяснение о роли НСК на заседании УМО.</a:t>
          </a:r>
          <a:r>
            <a:rPr lang="ru-RU" sz="1800" b="1" dirty="0" smtClean="0">
              <a:latin typeface="+mn-lt"/>
              <a:cs typeface="Arial" pitchFamily="34" charset="0"/>
            </a:rPr>
            <a:t>           </a:t>
          </a:r>
          <a:r>
            <a:rPr lang="kk-KZ" sz="1800" b="1" i="1" dirty="0" smtClean="0">
              <a:latin typeface="+mn-lt"/>
              <a:cs typeface="Arial" pitchFamily="34" charset="0"/>
            </a:rPr>
            <a:t>  </a:t>
          </a:r>
          <a:endParaRPr lang="ru-RU" sz="1800" dirty="0">
            <a:latin typeface="+mn-lt"/>
            <a:cs typeface="Arial" pitchFamily="34" charset="0"/>
          </a:endParaRPr>
        </a:p>
      </dgm:t>
    </dgm:pt>
    <dgm:pt modelId="{678403F5-53B7-4683-B778-4695800A8B04}" type="parTrans" cxnId="{47A45D08-0039-40CA-A561-1A206B319BE8}">
      <dgm:prSet/>
      <dgm:spPr/>
      <dgm:t>
        <a:bodyPr/>
        <a:lstStyle/>
        <a:p>
          <a:endParaRPr lang="ru-RU"/>
        </a:p>
      </dgm:t>
    </dgm:pt>
    <dgm:pt modelId="{FBF6989A-B312-49C4-9593-E95F72BC07C7}" type="sibTrans" cxnId="{47A45D08-0039-40CA-A561-1A206B319BE8}">
      <dgm:prSet/>
      <dgm:spPr/>
      <dgm:t>
        <a:bodyPr/>
        <a:lstStyle/>
        <a:p>
          <a:endParaRPr lang="ru-RU"/>
        </a:p>
      </dgm:t>
    </dgm:pt>
    <dgm:pt modelId="{B4A4707A-1E35-4216-B58E-E389774069B0}">
      <dgm:prSet phldrT="[Текст]" custT="1"/>
      <dgm:spPr/>
      <dgm:t>
        <a:bodyPr/>
        <a:lstStyle/>
        <a:p>
          <a:r>
            <a:rPr lang="ru-RU" sz="1800" dirty="0" smtClean="0">
              <a:latin typeface="+mn-lt"/>
              <a:cs typeface="Arial" pitchFamily="34" charset="0"/>
            </a:rPr>
            <a:t>Выработка единых подходов к формированию результатов обучения (компетенций) и оценивания достижений обучения.</a:t>
          </a:r>
          <a:endParaRPr lang="ru-RU" sz="1800" b="1" dirty="0">
            <a:latin typeface="+mn-lt"/>
            <a:ea typeface="+mn-ea"/>
            <a:cs typeface="Arial" pitchFamily="34" charset="0"/>
          </a:endParaRPr>
        </a:p>
      </dgm:t>
    </dgm:pt>
    <dgm:pt modelId="{7B23EC69-0E83-4C39-B9EF-35B67249EE51}" type="parTrans" cxnId="{8F146CBF-E3FB-46E6-972E-652C433916CD}">
      <dgm:prSet/>
      <dgm:spPr/>
      <dgm:t>
        <a:bodyPr/>
        <a:lstStyle/>
        <a:p>
          <a:endParaRPr lang="ru-RU"/>
        </a:p>
      </dgm:t>
    </dgm:pt>
    <dgm:pt modelId="{BF04A784-9DBC-4D07-B9FC-FFAD4935ED6F}" type="sibTrans" cxnId="{8F146CBF-E3FB-46E6-972E-652C433916CD}">
      <dgm:prSet/>
      <dgm:spPr/>
      <dgm:t>
        <a:bodyPr/>
        <a:lstStyle/>
        <a:p>
          <a:endParaRPr lang="ru-RU"/>
        </a:p>
      </dgm:t>
    </dgm:pt>
    <dgm:pt modelId="{EBF2A0FD-8769-427F-B7FD-1DB9CBEA5F62}">
      <dgm:prSet phldrT="[Текст]" custT="1"/>
      <dgm:spPr/>
      <dgm:t>
        <a:bodyPr/>
        <a:lstStyle/>
        <a:p>
          <a:r>
            <a:rPr lang="ru-RU" sz="1800" dirty="0" smtClean="0">
              <a:latin typeface="+mn-lt"/>
              <a:cs typeface="Arial" pitchFamily="34" charset="0"/>
            </a:rPr>
            <a:t>Предложения по приему и требованиям к поступающим в ВУЗы.</a:t>
          </a:r>
          <a:endParaRPr lang="ru-RU" sz="1800" b="1" dirty="0">
            <a:latin typeface="+mn-lt"/>
            <a:ea typeface="+mn-ea"/>
            <a:cs typeface="Arial" pitchFamily="34" charset="0"/>
          </a:endParaRPr>
        </a:p>
      </dgm:t>
    </dgm:pt>
    <dgm:pt modelId="{6C771A2B-50C6-4489-812B-A1393DB22336}" type="parTrans" cxnId="{0C9E458F-0943-47C2-ADAB-62A0283FB32A}">
      <dgm:prSet/>
      <dgm:spPr/>
      <dgm:t>
        <a:bodyPr/>
        <a:lstStyle/>
        <a:p>
          <a:endParaRPr lang="ru-RU"/>
        </a:p>
      </dgm:t>
    </dgm:pt>
    <dgm:pt modelId="{01F883BA-0E1A-458D-87E5-2F41AC382D13}" type="sibTrans" cxnId="{0C9E458F-0943-47C2-ADAB-62A0283FB32A}">
      <dgm:prSet/>
      <dgm:spPr/>
      <dgm:t>
        <a:bodyPr/>
        <a:lstStyle/>
        <a:p>
          <a:endParaRPr lang="ru-RU"/>
        </a:p>
      </dgm:t>
    </dgm:pt>
    <dgm:pt modelId="{1D4CC0E4-7DD9-4102-8AF4-C91162CCCE2A}" type="pres">
      <dgm:prSet presAssocID="{450C7825-A0B1-4BF9-AF53-985B97DD8AB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0203F20-4193-470E-A152-ECBEE7F1ABED}" type="pres">
      <dgm:prSet presAssocID="{362856FD-3ED2-47D1-BFD8-B92C4126A974}" presName="parentLin" presStyleCnt="0"/>
      <dgm:spPr/>
    </dgm:pt>
    <dgm:pt modelId="{B68AE84F-F90E-4C37-8A11-7C41FC9D598A}" type="pres">
      <dgm:prSet presAssocID="{362856FD-3ED2-47D1-BFD8-B92C4126A974}" presName="parentLeftMargin" presStyleLbl="node1" presStyleIdx="0" presStyleCnt="1"/>
      <dgm:spPr/>
      <dgm:t>
        <a:bodyPr/>
        <a:lstStyle/>
        <a:p>
          <a:endParaRPr lang="ru-RU"/>
        </a:p>
      </dgm:t>
    </dgm:pt>
    <dgm:pt modelId="{86F1674B-EE23-46BF-B16A-C655EFEEA00C}" type="pres">
      <dgm:prSet presAssocID="{362856FD-3ED2-47D1-BFD8-B92C4126A974}" presName="parentText" presStyleLbl="node1" presStyleIdx="0" presStyleCnt="1" custFlipHor="1" custScaleX="40208" custScaleY="126424" custLinFactNeighborX="-59044" custLinFactNeighborY="-3697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52B0EF0-E2EF-4F9F-A8FD-538AC9F0AF47}" type="pres">
      <dgm:prSet presAssocID="{362856FD-3ED2-47D1-BFD8-B92C4126A974}" presName="negativeSpace" presStyleCnt="0"/>
      <dgm:spPr/>
    </dgm:pt>
    <dgm:pt modelId="{6678675F-89E3-4365-9BFD-B00FBC1193F5}" type="pres">
      <dgm:prSet presAssocID="{362856FD-3ED2-47D1-BFD8-B92C4126A974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4167322-A1B9-48D8-A046-BFD6C68C664B}" type="presOf" srcId="{347FB8FA-6C5C-442B-8830-A619235BDF4F}" destId="{6678675F-89E3-4365-9BFD-B00FBC1193F5}" srcOrd="0" destOrd="4" presId="urn:microsoft.com/office/officeart/2005/8/layout/list1"/>
    <dgm:cxn modelId="{D9D37CC4-6F14-47BE-AD9D-C40665DF4C1A}" type="presOf" srcId="{4055490E-66AF-4F65-AEF8-11169866A16C}" destId="{6678675F-89E3-4365-9BFD-B00FBC1193F5}" srcOrd="0" destOrd="1" presId="urn:microsoft.com/office/officeart/2005/8/layout/list1"/>
    <dgm:cxn modelId="{1DF2A7CC-15A0-4B5B-9231-C04D8873570A}" srcId="{450C7825-A0B1-4BF9-AF53-985B97DD8AB3}" destId="{362856FD-3ED2-47D1-BFD8-B92C4126A974}" srcOrd="0" destOrd="0" parTransId="{0A09DAD3-55C2-4221-9B87-2E96F7B9EE97}" sibTransId="{BE4E72B6-9223-4F3A-80C9-11252AFCED25}"/>
    <dgm:cxn modelId="{0FCA41DD-7D10-4B92-8A0C-522C66D8240C}" type="presOf" srcId="{2D7B29CE-3103-42EB-B7F7-8ED5A6B9F1DE}" destId="{6678675F-89E3-4365-9BFD-B00FBC1193F5}" srcOrd="0" destOrd="6" presId="urn:microsoft.com/office/officeart/2005/8/layout/list1"/>
    <dgm:cxn modelId="{F563222F-EA9C-4134-B6C1-2FD3A844E853}" srcId="{FEA5E301-0185-476E-B3DA-A9A928578EFE}" destId="{F224DEE0-3A75-4B60-8404-2FBAF7BAA01C}" srcOrd="1" destOrd="0" parTransId="{FD7130E2-314D-45A7-85CC-7E2B224E1FD5}" sibTransId="{CBB1A65D-45C6-4B91-A530-E18F7231BD41}"/>
    <dgm:cxn modelId="{BF0772BC-5BF3-46FA-958B-83CF45907A8F}" type="presOf" srcId="{EBF2A0FD-8769-427F-B7FD-1DB9CBEA5F62}" destId="{6678675F-89E3-4365-9BFD-B00FBC1193F5}" srcOrd="0" destOrd="12" presId="urn:microsoft.com/office/officeart/2005/8/layout/list1"/>
    <dgm:cxn modelId="{F69ED910-371A-4F89-BA4B-BC387D610AEB}" srcId="{FEA5E301-0185-476E-B3DA-A9A928578EFE}" destId="{2D7B29CE-3103-42EB-B7F7-8ED5A6B9F1DE}" srcOrd="2" destOrd="0" parTransId="{BC9561B5-D6AE-4B2D-B275-D388093C18F3}" sibTransId="{8A2365D2-DBD2-4A86-9168-954B0832B0B2}"/>
    <dgm:cxn modelId="{DCB61635-A8C7-43FE-B278-9D2351C9C237}" type="presOf" srcId="{450C7825-A0B1-4BF9-AF53-985B97DD8AB3}" destId="{1D4CC0E4-7DD9-4102-8AF4-C91162CCCE2A}" srcOrd="0" destOrd="0" presId="urn:microsoft.com/office/officeart/2005/8/layout/list1"/>
    <dgm:cxn modelId="{01FF57FA-47D1-4A5D-9154-CCA6A0D719EE}" type="presOf" srcId="{B4A4707A-1E35-4216-B58E-E389774069B0}" destId="{6678675F-89E3-4365-9BFD-B00FBC1193F5}" srcOrd="0" destOrd="10" presId="urn:microsoft.com/office/officeart/2005/8/layout/list1"/>
    <dgm:cxn modelId="{AC68F37E-3F15-4114-81F8-54CB65A27720}" srcId="{362856FD-3ED2-47D1-BFD8-B92C4126A974}" destId="{3E7CEFF1-D0F9-48C2-837B-17B7143983C6}" srcOrd="0" destOrd="0" parTransId="{B6C0B74B-0747-45A5-B09B-C4F527C28C8F}" sibTransId="{1F3929D8-F6D5-40D1-A1E0-0BD0BF46D201}"/>
    <dgm:cxn modelId="{D90144A1-6867-4247-A3B4-DCA004F03C14}" type="presOf" srcId="{362856FD-3ED2-47D1-BFD8-B92C4126A974}" destId="{B68AE84F-F90E-4C37-8A11-7C41FC9D598A}" srcOrd="0" destOrd="0" presId="urn:microsoft.com/office/officeart/2005/8/layout/list1"/>
    <dgm:cxn modelId="{66398A3E-C3C0-4C82-BDFF-74910B22133E}" type="presOf" srcId="{B1C491D2-B381-42A2-A5EE-FFD1759760BD}" destId="{6678675F-89E3-4365-9BFD-B00FBC1193F5}" srcOrd="0" destOrd="2" presId="urn:microsoft.com/office/officeart/2005/8/layout/list1"/>
    <dgm:cxn modelId="{03E41A2D-33C3-4F99-87B5-6081F2BA9CF0}" type="presOf" srcId="{362856FD-3ED2-47D1-BFD8-B92C4126A974}" destId="{86F1674B-EE23-46BF-B16A-C655EFEEA00C}" srcOrd="1" destOrd="0" presId="urn:microsoft.com/office/officeart/2005/8/layout/list1"/>
    <dgm:cxn modelId="{B1DF35DD-39F3-4073-9A37-37899BAF16D4}" type="presOf" srcId="{07778A3A-0420-4B71-B9A4-01E97721476B}" destId="{6678675F-89E3-4365-9BFD-B00FBC1193F5}" srcOrd="0" destOrd="11" presId="urn:microsoft.com/office/officeart/2005/8/layout/list1"/>
    <dgm:cxn modelId="{2517BD58-401B-4FE6-ADDB-8F39EBB80E0C}" srcId="{3E7CEFF1-D0F9-48C2-837B-17B7143983C6}" destId="{4055490E-66AF-4F65-AEF8-11169866A16C}" srcOrd="0" destOrd="0" parTransId="{B62F3CA0-D45B-4AFB-9D11-6C481FE311BA}" sibTransId="{C2A39BA1-7D4F-4503-974D-E022B4F595E5}"/>
    <dgm:cxn modelId="{0C9E458F-0943-47C2-ADAB-62A0283FB32A}" srcId="{07778A3A-0420-4B71-B9A4-01E97721476B}" destId="{EBF2A0FD-8769-427F-B7FD-1DB9CBEA5F62}" srcOrd="0" destOrd="0" parTransId="{6C771A2B-50C6-4489-812B-A1393DB22336}" sibTransId="{01F883BA-0E1A-458D-87E5-2F41AC382D13}"/>
    <dgm:cxn modelId="{0767D055-C529-4B2D-B8A4-B249B2D175BF}" type="presOf" srcId="{BFD5B4EE-AB8A-43A9-A49E-9537FF7BF9AA}" destId="{6678675F-89E3-4365-9BFD-B00FBC1193F5}" srcOrd="0" destOrd="9" presId="urn:microsoft.com/office/officeart/2005/8/layout/list1"/>
    <dgm:cxn modelId="{A7732B54-E5EA-488F-93E0-25055E4F929D}" srcId="{3E7CEFF1-D0F9-48C2-837B-17B7143983C6}" destId="{B1C491D2-B381-42A2-A5EE-FFD1759760BD}" srcOrd="1" destOrd="0" parTransId="{65629833-0EAE-4BC9-9F4E-09892B7416A7}" sibTransId="{BFB7AC50-D69B-4EAB-9E93-062670E28B7C}"/>
    <dgm:cxn modelId="{D8148BE8-D6DB-4216-9E4C-DA5615665950}" srcId="{FEA5E301-0185-476E-B3DA-A9A928578EFE}" destId="{112E7D09-25DF-48F5-A7D8-542E5AAEC89C}" srcOrd="3" destOrd="0" parTransId="{76428F3B-23AB-423F-8E5F-296FC949304A}" sibTransId="{34514A20-1288-47C9-9B52-9AF0DCE87675}"/>
    <dgm:cxn modelId="{9FE9A5B5-C0A5-45CA-929E-39944DA53D78}" type="presOf" srcId="{FEA5E301-0185-476E-B3DA-A9A928578EFE}" destId="{6678675F-89E3-4365-9BFD-B00FBC1193F5}" srcOrd="0" destOrd="3" presId="urn:microsoft.com/office/officeart/2005/8/layout/list1"/>
    <dgm:cxn modelId="{F09294F1-221F-4806-9C79-026E08BA9A19}" srcId="{362856FD-3ED2-47D1-BFD8-B92C4126A974}" destId="{07778A3A-0420-4B71-B9A4-01E97721476B}" srcOrd="3" destOrd="0" parTransId="{42309C35-1338-47F0-A2FB-7D73D39262C5}" sibTransId="{E572745A-A217-4A07-9CB3-4F77F39E3517}"/>
    <dgm:cxn modelId="{8F146CBF-E3FB-46E6-972E-652C433916CD}" srcId="{BFD5B4EE-AB8A-43A9-A49E-9537FF7BF9AA}" destId="{B4A4707A-1E35-4216-B58E-E389774069B0}" srcOrd="0" destOrd="0" parTransId="{7B23EC69-0E83-4C39-B9EF-35B67249EE51}" sibTransId="{BF04A784-9DBC-4D07-B9FC-FFAD4935ED6F}"/>
    <dgm:cxn modelId="{865DF669-BFFB-4A06-BDF0-369DB621DED1}" srcId="{362856FD-3ED2-47D1-BFD8-B92C4126A974}" destId="{BFD5B4EE-AB8A-43A9-A49E-9537FF7BF9AA}" srcOrd="2" destOrd="0" parTransId="{12FFEFB7-874A-4AC3-8A73-A48A5689F8B9}" sibTransId="{268CE913-95ED-4695-9A0E-50E6CB7A8641}"/>
    <dgm:cxn modelId="{D6D1DF40-43BD-4E5E-B03C-AFDCC4853E45}" type="presOf" srcId="{112E7D09-25DF-48F5-A7D8-542E5AAEC89C}" destId="{6678675F-89E3-4365-9BFD-B00FBC1193F5}" srcOrd="0" destOrd="7" presId="urn:microsoft.com/office/officeart/2005/8/layout/list1"/>
    <dgm:cxn modelId="{DA6B33F8-7865-4BE1-ABB7-86D7E4AE64FA}" srcId="{FEA5E301-0185-476E-B3DA-A9A928578EFE}" destId="{347FB8FA-6C5C-442B-8830-A619235BDF4F}" srcOrd="0" destOrd="0" parTransId="{3FA0163F-EA4B-429F-8976-1F64E89876B5}" sibTransId="{EA0E1B81-C404-49F5-BE97-C7A66908727D}"/>
    <dgm:cxn modelId="{4CEA7DD9-BD6E-4A46-87D6-DC3F6369E0A6}" type="presOf" srcId="{3E7CEFF1-D0F9-48C2-837B-17B7143983C6}" destId="{6678675F-89E3-4365-9BFD-B00FBC1193F5}" srcOrd="0" destOrd="0" presId="urn:microsoft.com/office/officeart/2005/8/layout/list1"/>
    <dgm:cxn modelId="{E3492706-6A10-42F2-BF65-1E003B7671CD}" srcId="{362856FD-3ED2-47D1-BFD8-B92C4126A974}" destId="{FEA5E301-0185-476E-B3DA-A9A928578EFE}" srcOrd="1" destOrd="0" parTransId="{5B0EBA06-1FB6-43D5-851C-484305BF7C5A}" sibTransId="{083E797F-0857-444E-A9B6-00432595E406}"/>
    <dgm:cxn modelId="{47A45D08-0039-40CA-A561-1A206B319BE8}" srcId="{FEA5E301-0185-476E-B3DA-A9A928578EFE}" destId="{9469EFF0-4258-4933-9BEA-BB229341A932}" srcOrd="4" destOrd="0" parTransId="{678403F5-53B7-4683-B778-4695800A8B04}" sibTransId="{FBF6989A-B312-49C4-9593-E95F72BC07C7}"/>
    <dgm:cxn modelId="{759A5BF1-3EFD-4D8A-A046-72D78707E984}" type="presOf" srcId="{9469EFF0-4258-4933-9BEA-BB229341A932}" destId="{6678675F-89E3-4365-9BFD-B00FBC1193F5}" srcOrd="0" destOrd="8" presId="urn:microsoft.com/office/officeart/2005/8/layout/list1"/>
    <dgm:cxn modelId="{312D921E-AE70-4607-A9EA-17685FEF3F9A}" type="presOf" srcId="{F224DEE0-3A75-4B60-8404-2FBAF7BAA01C}" destId="{6678675F-89E3-4365-9BFD-B00FBC1193F5}" srcOrd="0" destOrd="5" presId="urn:microsoft.com/office/officeart/2005/8/layout/list1"/>
    <dgm:cxn modelId="{3C91B263-BED3-42B6-BBF5-670DBF64E794}" type="presParOf" srcId="{1D4CC0E4-7DD9-4102-8AF4-C91162CCCE2A}" destId="{70203F20-4193-470E-A152-ECBEE7F1ABED}" srcOrd="0" destOrd="0" presId="urn:microsoft.com/office/officeart/2005/8/layout/list1"/>
    <dgm:cxn modelId="{3D04C999-5A50-484D-9DFA-6D095EB058DE}" type="presParOf" srcId="{70203F20-4193-470E-A152-ECBEE7F1ABED}" destId="{B68AE84F-F90E-4C37-8A11-7C41FC9D598A}" srcOrd="0" destOrd="0" presId="urn:microsoft.com/office/officeart/2005/8/layout/list1"/>
    <dgm:cxn modelId="{80366484-F269-45F3-9C7F-6D23F90A1DD3}" type="presParOf" srcId="{70203F20-4193-470E-A152-ECBEE7F1ABED}" destId="{86F1674B-EE23-46BF-B16A-C655EFEEA00C}" srcOrd="1" destOrd="0" presId="urn:microsoft.com/office/officeart/2005/8/layout/list1"/>
    <dgm:cxn modelId="{75B56113-85EC-43E7-A285-63C245A75FB8}" type="presParOf" srcId="{1D4CC0E4-7DD9-4102-8AF4-C91162CCCE2A}" destId="{452B0EF0-E2EF-4F9F-A8FD-538AC9F0AF47}" srcOrd="1" destOrd="0" presId="urn:microsoft.com/office/officeart/2005/8/layout/list1"/>
    <dgm:cxn modelId="{005DC429-A0A6-4C55-8A9F-98E8224739F4}" type="presParOf" srcId="{1D4CC0E4-7DD9-4102-8AF4-C91162CCCE2A}" destId="{6678675F-89E3-4365-9BFD-B00FBC1193F5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D41F9D-97F2-430E-B4BC-B291179B311F}" type="doc">
      <dgm:prSet loTypeId="urn:microsoft.com/office/officeart/2005/8/layout/process4" loCatId="process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B26DA4E1-91E3-4C40-BAC7-90D9CBA3B7F7}">
      <dgm:prSet phldrT="[Текст]"/>
      <dgm:spPr>
        <a:ln w="38100">
          <a:solidFill>
            <a:srgbClr val="8B4D80"/>
          </a:solidFill>
        </a:ln>
      </dgm:spPr>
      <dgm:t>
        <a:bodyPr/>
        <a:lstStyle/>
        <a:p>
          <a:r>
            <a:rPr lang="ru-RU" dirty="0" smtClean="0"/>
            <a:t>Разработка проекта в рамках деятельности УМО</a:t>
          </a:r>
          <a:endParaRPr lang="ru-RU" dirty="0"/>
        </a:p>
      </dgm:t>
    </dgm:pt>
    <dgm:pt modelId="{7DC3EC36-62CA-42E6-8921-3B7B909C07D6}" type="parTrans" cxnId="{5873DFCD-60C4-4FEE-955D-E85622878E38}">
      <dgm:prSet/>
      <dgm:spPr/>
      <dgm:t>
        <a:bodyPr/>
        <a:lstStyle/>
        <a:p>
          <a:endParaRPr lang="ru-RU"/>
        </a:p>
      </dgm:t>
    </dgm:pt>
    <dgm:pt modelId="{0119DA8D-C5DA-4FF2-A64C-1B95D6F47D9D}" type="sibTrans" cxnId="{5873DFCD-60C4-4FEE-955D-E85622878E38}">
      <dgm:prSet/>
      <dgm:spPr/>
      <dgm:t>
        <a:bodyPr/>
        <a:lstStyle/>
        <a:p>
          <a:endParaRPr lang="ru-RU"/>
        </a:p>
      </dgm:t>
    </dgm:pt>
    <dgm:pt modelId="{2D09A1B7-C739-4C98-B7C4-6F0DF647CA5A}">
      <dgm:prSet phldrT="[Текст]"/>
      <dgm:spPr>
        <a:ln w="38100">
          <a:solidFill>
            <a:srgbClr val="8B4D80"/>
          </a:solidFill>
        </a:ln>
      </dgm:spPr>
      <dgm:t>
        <a:bodyPr/>
        <a:lstStyle/>
        <a:p>
          <a:r>
            <a:rPr lang="ru-RU" dirty="0" smtClean="0"/>
            <a:t>Обсуждение проекта на заседании УМО</a:t>
          </a:r>
          <a:endParaRPr lang="ru-RU" dirty="0"/>
        </a:p>
      </dgm:t>
    </dgm:pt>
    <dgm:pt modelId="{B0179177-2587-46E6-BA5A-6E0D09308FF0}" type="parTrans" cxnId="{1E64485B-C56B-405E-BF63-38AF4A1CB14D}">
      <dgm:prSet/>
      <dgm:spPr/>
      <dgm:t>
        <a:bodyPr/>
        <a:lstStyle/>
        <a:p>
          <a:endParaRPr lang="ru-RU"/>
        </a:p>
      </dgm:t>
    </dgm:pt>
    <dgm:pt modelId="{B132DB36-F81F-4358-B777-9FBEBB4842BC}" type="sibTrans" cxnId="{1E64485B-C56B-405E-BF63-38AF4A1CB14D}">
      <dgm:prSet/>
      <dgm:spPr/>
      <dgm:t>
        <a:bodyPr/>
        <a:lstStyle/>
        <a:p>
          <a:endParaRPr lang="ru-RU"/>
        </a:p>
      </dgm:t>
    </dgm:pt>
    <dgm:pt modelId="{F915D402-BC3E-45B6-A811-6AB10BFA097C}">
      <dgm:prSet phldrT="[Текст]"/>
      <dgm:spPr>
        <a:ln w="38100">
          <a:solidFill>
            <a:srgbClr val="8B4D80"/>
          </a:solidFill>
        </a:ln>
      </dgm:spPr>
      <dgm:t>
        <a:bodyPr/>
        <a:lstStyle/>
        <a:p>
          <a:r>
            <a:rPr lang="ru-RU" dirty="0" smtClean="0"/>
            <a:t>Утверждение устава и плана реализации проекта</a:t>
          </a:r>
          <a:endParaRPr lang="ru-RU" dirty="0"/>
        </a:p>
      </dgm:t>
    </dgm:pt>
    <dgm:pt modelId="{B9D8B334-50F5-4EA5-AB02-3C63CE8CEEEB}" type="parTrans" cxnId="{C9F66C0D-E761-4D1A-A7D8-5454B3603C3C}">
      <dgm:prSet/>
      <dgm:spPr/>
      <dgm:t>
        <a:bodyPr/>
        <a:lstStyle/>
        <a:p>
          <a:endParaRPr lang="ru-RU"/>
        </a:p>
      </dgm:t>
    </dgm:pt>
    <dgm:pt modelId="{E6C984C5-C6B3-4E33-872D-21C306FC6482}" type="sibTrans" cxnId="{C9F66C0D-E761-4D1A-A7D8-5454B3603C3C}">
      <dgm:prSet/>
      <dgm:spPr/>
      <dgm:t>
        <a:bodyPr/>
        <a:lstStyle/>
        <a:p>
          <a:endParaRPr lang="ru-RU"/>
        </a:p>
      </dgm:t>
    </dgm:pt>
    <dgm:pt modelId="{B18286FC-6421-4A53-B5B1-B31EFB10DF77}">
      <dgm:prSet phldrT="[Текст]"/>
      <dgm:spPr>
        <a:ln w="38100">
          <a:solidFill>
            <a:srgbClr val="8B4D80"/>
          </a:solidFill>
        </a:ln>
      </dgm:spPr>
      <dgm:t>
        <a:bodyPr/>
        <a:lstStyle/>
        <a:p>
          <a:r>
            <a:rPr lang="ru-RU" dirty="0" smtClean="0"/>
            <a:t>Реализация проекта с еженедельным контролем выполнения</a:t>
          </a:r>
          <a:endParaRPr lang="ru-RU" dirty="0"/>
        </a:p>
      </dgm:t>
    </dgm:pt>
    <dgm:pt modelId="{2B632858-F276-4CBF-B0D5-C6EC7B6311F7}" type="parTrans" cxnId="{50931D11-978F-4B6F-9A1E-BCEC01E4E5EF}">
      <dgm:prSet/>
      <dgm:spPr/>
      <dgm:t>
        <a:bodyPr/>
        <a:lstStyle/>
        <a:p>
          <a:endParaRPr lang="ru-RU"/>
        </a:p>
      </dgm:t>
    </dgm:pt>
    <dgm:pt modelId="{2F96F6AB-60F1-4D7D-8CCD-4A14DBD03827}" type="sibTrans" cxnId="{50931D11-978F-4B6F-9A1E-BCEC01E4E5EF}">
      <dgm:prSet/>
      <dgm:spPr/>
      <dgm:t>
        <a:bodyPr/>
        <a:lstStyle/>
        <a:p>
          <a:endParaRPr lang="ru-RU"/>
        </a:p>
      </dgm:t>
    </dgm:pt>
    <dgm:pt modelId="{66AF2CFF-B72F-4263-ABC9-9F8FCB19B3BA}">
      <dgm:prSet phldrT="[Текст]"/>
      <dgm:spPr>
        <a:ln w="38100">
          <a:solidFill>
            <a:srgbClr val="8B4D80"/>
          </a:solidFill>
        </a:ln>
      </dgm:spPr>
      <dgm:t>
        <a:bodyPr/>
        <a:lstStyle/>
        <a:p>
          <a:r>
            <a:rPr lang="ru-RU" dirty="0" smtClean="0"/>
            <a:t>Отчет о реализации проекта</a:t>
          </a:r>
          <a:endParaRPr lang="ru-RU" dirty="0"/>
        </a:p>
      </dgm:t>
    </dgm:pt>
    <dgm:pt modelId="{866817AD-4E1F-4996-A09F-7574F21E9C06}" type="parTrans" cxnId="{6F320787-6273-4FF1-9D03-C059E92C533D}">
      <dgm:prSet/>
      <dgm:spPr/>
      <dgm:t>
        <a:bodyPr/>
        <a:lstStyle/>
        <a:p>
          <a:endParaRPr lang="ru-RU"/>
        </a:p>
      </dgm:t>
    </dgm:pt>
    <dgm:pt modelId="{AD535F98-3C7C-4C86-91AC-E79CAA8A6C82}" type="sibTrans" cxnId="{6F320787-6273-4FF1-9D03-C059E92C533D}">
      <dgm:prSet/>
      <dgm:spPr/>
      <dgm:t>
        <a:bodyPr/>
        <a:lstStyle/>
        <a:p>
          <a:endParaRPr lang="ru-RU"/>
        </a:p>
      </dgm:t>
    </dgm:pt>
    <dgm:pt modelId="{BA4BB768-9A7F-4A32-BBDC-D067207B2FD9}">
      <dgm:prSet phldrT="[Текст]"/>
      <dgm:spPr>
        <a:ln w="38100">
          <a:solidFill>
            <a:srgbClr val="8B4D80"/>
          </a:solidFill>
        </a:ln>
      </dgm:spPr>
      <dgm:t>
        <a:bodyPr/>
        <a:lstStyle/>
        <a:p>
          <a:r>
            <a:rPr lang="ru-RU" dirty="0" smtClean="0"/>
            <a:t>Завершение проекта</a:t>
          </a:r>
          <a:endParaRPr lang="ru-RU" dirty="0"/>
        </a:p>
      </dgm:t>
    </dgm:pt>
    <dgm:pt modelId="{92051721-DFA8-4A14-A7ED-C90CC0A2B478}" type="parTrans" cxnId="{46578907-357A-4147-B63E-F4FA8F043EFA}">
      <dgm:prSet/>
      <dgm:spPr/>
      <dgm:t>
        <a:bodyPr/>
        <a:lstStyle/>
        <a:p>
          <a:endParaRPr lang="ru-RU"/>
        </a:p>
      </dgm:t>
    </dgm:pt>
    <dgm:pt modelId="{43752C45-D83B-47D3-AB7D-5FAA6F417DCB}" type="sibTrans" cxnId="{46578907-357A-4147-B63E-F4FA8F043EFA}">
      <dgm:prSet/>
      <dgm:spPr/>
      <dgm:t>
        <a:bodyPr/>
        <a:lstStyle/>
        <a:p>
          <a:endParaRPr lang="ru-RU"/>
        </a:p>
      </dgm:t>
    </dgm:pt>
    <dgm:pt modelId="{2BFF2C39-B9B1-467C-9898-FDEC00C887CD}" type="pres">
      <dgm:prSet presAssocID="{6DD41F9D-97F2-430E-B4BC-B291179B311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0946F60-6E92-430E-8411-DC785F8B5C99}" type="pres">
      <dgm:prSet presAssocID="{BA4BB768-9A7F-4A32-BBDC-D067207B2FD9}" presName="boxAndChildren" presStyleCnt="0"/>
      <dgm:spPr/>
    </dgm:pt>
    <dgm:pt modelId="{56280BBC-E0F1-4A3B-A90F-C2AF17311714}" type="pres">
      <dgm:prSet presAssocID="{BA4BB768-9A7F-4A32-BBDC-D067207B2FD9}" presName="parentTextBox" presStyleLbl="node1" presStyleIdx="0" presStyleCnt="6"/>
      <dgm:spPr/>
      <dgm:t>
        <a:bodyPr/>
        <a:lstStyle/>
        <a:p>
          <a:endParaRPr lang="ru-RU"/>
        </a:p>
      </dgm:t>
    </dgm:pt>
    <dgm:pt modelId="{71FB71CC-C1A6-461E-AD89-5E225BE80F2F}" type="pres">
      <dgm:prSet presAssocID="{AD535F98-3C7C-4C86-91AC-E79CAA8A6C82}" presName="sp" presStyleCnt="0"/>
      <dgm:spPr/>
    </dgm:pt>
    <dgm:pt modelId="{4DACE766-B916-4EFB-A30B-9768C165905C}" type="pres">
      <dgm:prSet presAssocID="{66AF2CFF-B72F-4263-ABC9-9F8FCB19B3BA}" presName="arrowAndChildren" presStyleCnt="0"/>
      <dgm:spPr/>
    </dgm:pt>
    <dgm:pt modelId="{9CD6A132-E046-4528-9C84-FD1701ACB643}" type="pres">
      <dgm:prSet presAssocID="{66AF2CFF-B72F-4263-ABC9-9F8FCB19B3BA}" presName="parentTextArrow" presStyleLbl="node1" presStyleIdx="1" presStyleCnt="6"/>
      <dgm:spPr/>
      <dgm:t>
        <a:bodyPr/>
        <a:lstStyle/>
        <a:p>
          <a:endParaRPr lang="ru-RU"/>
        </a:p>
      </dgm:t>
    </dgm:pt>
    <dgm:pt modelId="{80F89634-AA6F-460F-AB6A-895F2F386A89}" type="pres">
      <dgm:prSet presAssocID="{2F96F6AB-60F1-4D7D-8CCD-4A14DBD03827}" presName="sp" presStyleCnt="0"/>
      <dgm:spPr/>
    </dgm:pt>
    <dgm:pt modelId="{23885622-6F1A-4B6D-9376-C10C3BEC3C23}" type="pres">
      <dgm:prSet presAssocID="{B18286FC-6421-4A53-B5B1-B31EFB10DF77}" presName="arrowAndChildren" presStyleCnt="0"/>
      <dgm:spPr/>
    </dgm:pt>
    <dgm:pt modelId="{93C47119-9C57-474A-86EE-A3205750C699}" type="pres">
      <dgm:prSet presAssocID="{B18286FC-6421-4A53-B5B1-B31EFB10DF77}" presName="parentTextArrow" presStyleLbl="node1" presStyleIdx="2" presStyleCnt="6"/>
      <dgm:spPr/>
      <dgm:t>
        <a:bodyPr/>
        <a:lstStyle/>
        <a:p>
          <a:endParaRPr lang="ru-RU"/>
        </a:p>
      </dgm:t>
    </dgm:pt>
    <dgm:pt modelId="{4F8B2FE5-70D4-4BB0-98F6-F119D7C0CF4C}" type="pres">
      <dgm:prSet presAssocID="{E6C984C5-C6B3-4E33-872D-21C306FC6482}" presName="sp" presStyleCnt="0"/>
      <dgm:spPr/>
    </dgm:pt>
    <dgm:pt modelId="{AFB1624C-2A72-4423-A401-EBD511D29F90}" type="pres">
      <dgm:prSet presAssocID="{F915D402-BC3E-45B6-A811-6AB10BFA097C}" presName="arrowAndChildren" presStyleCnt="0"/>
      <dgm:spPr/>
    </dgm:pt>
    <dgm:pt modelId="{0C1A09F1-AA6A-4457-9EE6-9B7605B212CC}" type="pres">
      <dgm:prSet presAssocID="{F915D402-BC3E-45B6-A811-6AB10BFA097C}" presName="parentTextArrow" presStyleLbl="node1" presStyleIdx="3" presStyleCnt="6"/>
      <dgm:spPr/>
      <dgm:t>
        <a:bodyPr/>
        <a:lstStyle/>
        <a:p>
          <a:endParaRPr lang="ru-RU"/>
        </a:p>
      </dgm:t>
    </dgm:pt>
    <dgm:pt modelId="{1D3AE8BA-CB38-4181-9EB2-6DFA5DDD53CD}" type="pres">
      <dgm:prSet presAssocID="{B132DB36-F81F-4358-B777-9FBEBB4842BC}" presName="sp" presStyleCnt="0"/>
      <dgm:spPr/>
    </dgm:pt>
    <dgm:pt modelId="{BEB4478B-A514-4B66-9D01-22B01F59D483}" type="pres">
      <dgm:prSet presAssocID="{2D09A1B7-C739-4C98-B7C4-6F0DF647CA5A}" presName="arrowAndChildren" presStyleCnt="0"/>
      <dgm:spPr/>
    </dgm:pt>
    <dgm:pt modelId="{6E5A5DF5-FEA7-46B2-A140-DB6D6F058063}" type="pres">
      <dgm:prSet presAssocID="{2D09A1B7-C739-4C98-B7C4-6F0DF647CA5A}" presName="parentTextArrow" presStyleLbl="node1" presStyleIdx="4" presStyleCnt="6"/>
      <dgm:spPr/>
      <dgm:t>
        <a:bodyPr/>
        <a:lstStyle/>
        <a:p>
          <a:endParaRPr lang="ru-RU"/>
        </a:p>
      </dgm:t>
    </dgm:pt>
    <dgm:pt modelId="{88C58E38-13E7-4D9F-834A-E767E618D172}" type="pres">
      <dgm:prSet presAssocID="{0119DA8D-C5DA-4FF2-A64C-1B95D6F47D9D}" presName="sp" presStyleCnt="0"/>
      <dgm:spPr/>
    </dgm:pt>
    <dgm:pt modelId="{27523CFA-DBDA-4A3E-8D3F-D7061C0A24F4}" type="pres">
      <dgm:prSet presAssocID="{B26DA4E1-91E3-4C40-BAC7-90D9CBA3B7F7}" presName="arrowAndChildren" presStyleCnt="0"/>
      <dgm:spPr/>
    </dgm:pt>
    <dgm:pt modelId="{B6F0B790-84B4-4834-A4D9-A1B1036A2E85}" type="pres">
      <dgm:prSet presAssocID="{B26DA4E1-91E3-4C40-BAC7-90D9CBA3B7F7}" presName="parentTextArrow" presStyleLbl="node1" presStyleIdx="5" presStyleCnt="6"/>
      <dgm:spPr/>
      <dgm:t>
        <a:bodyPr/>
        <a:lstStyle/>
        <a:p>
          <a:endParaRPr lang="ru-RU"/>
        </a:p>
      </dgm:t>
    </dgm:pt>
  </dgm:ptLst>
  <dgm:cxnLst>
    <dgm:cxn modelId="{3E0E0CFC-CD8C-46AA-971B-646E6450FB90}" type="presOf" srcId="{66AF2CFF-B72F-4263-ABC9-9F8FCB19B3BA}" destId="{9CD6A132-E046-4528-9C84-FD1701ACB643}" srcOrd="0" destOrd="0" presId="urn:microsoft.com/office/officeart/2005/8/layout/process4"/>
    <dgm:cxn modelId="{2E319F43-DE57-49CA-BE68-4EF4D8B9C74B}" type="presOf" srcId="{F915D402-BC3E-45B6-A811-6AB10BFA097C}" destId="{0C1A09F1-AA6A-4457-9EE6-9B7605B212CC}" srcOrd="0" destOrd="0" presId="urn:microsoft.com/office/officeart/2005/8/layout/process4"/>
    <dgm:cxn modelId="{803FB71B-6AB0-4333-A286-DBEFD48980F7}" type="presOf" srcId="{BA4BB768-9A7F-4A32-BBDC-D067207B2FD9}" destId="{56280BBC-E0F1-4A3B-A90F-C2AF17311714}" srcOrd="0" destOrd="0" presId="urn:microsoft.com/office/officeart/2005/8/layout/process4"/>
    <dgm:cxn modelId="{61AC38FB-705A-48EF-8EB6-D9208721782B}" type="presOf" srcId="{2D09A1B7-C739-4C98-B7C4-6F0DF647CA5A}" destId="{6E5A5DF5-FEA7-46B2-A140-DB6D6F058063}" srcOrd="0" destOrd="0" presId="urn:microsoft.com/office/officeart/2005/8/layout/process4"/>
    <dgm:cxn modelId="{FE56DF55-0D5F-46D1-B909-ED721C0CE79E}" type="presOf" srcId="{B18286FC-6421-4A53-B5B1-B31EFB10DF77}" destId="{93C47119-9C57-474A-86EE-A3205750C699}" srcOrd="0" destOrd="0" presId="urn:microsoft.com/office/officeart/2005/8/layout/process4"/>
    <dgm:cxn modelId="{F8B566C3-DB43-4A4C-896D-CB91773068B2}" type="presOf" srcId="{B26DA4E1-91E3-4C40-BAC7-90D9CBA3B7F7}" destId="{B6F0B790-84B4-4834-A4D9-A1B1036A2E85}" srcOrd="0" destOrd="0" presId="urn:microsoft.com/office/officeart/2005/8/layout/process4"/>
    <dgm:cxn modelId="{1E64485B-C56B-405E-BF63-38AF4A1CB14D}" srcId="{6DD41F9D-97F2-430E-B4BC-B291179B311F}" destId="{2D09A1B7-C739-4C98-B7C4-6F0DF647CA5A}" srcOrd="1" destOrd="0" parTransId="{B0179177-2587-46E6-BA5A-6E0D09308FF0}" sibTransId="{B132DB36-F81F-4358-B777-9FBEBB4842BC}"/>
    <dgm:cxn modelId="{5873DFCD-60C4-4FEE-955D-E85622878E38}" srcId="{6DD41F9D-97F2-430E-B4BC-B291179B311F}" destId="{B26DA4E1-91E3-4C40-BAC7-90D9CBA3B7F7}" srcOrd="0" destOrd="0" parTransId="{7DC3EC36-62CA-42E6-8921-3B7B909C07D6}" sibTransId="{0119DA8D-C5DA-4FF2-A64C-1B95D6F47D9D}"/>
    <dgm:cxn modelId="{3DFB4E92-8794-4261-961B-96D8061F1F7D}" type="presOf" srcId="{6DD41F9D-97F2-430E-B4BC-B291179B311F}" destId="{2BFF2C39-B9B1-467C-9898-FDEC00C887CD}" srcOrd="0" destOrd="0" presId="urn:microsoft.com/office/officeart/2005/8/layout/process4"/>
    <dgm:cxn modelId="{C9F66C0D-E761-4D1A-A7D8-5454B3603C3C}" srcId="{6DD41F9D-97F2-430E-B4BC-B291179B311F}" destId="{F915D402-BC3E-45B6-A811-6AB10BFA097C}" srcOrd="2" destOrd="0" parTransId="{B9D8B334-50F5-4EA5-AB02-3C63CE8CEEEB}" sibTransId="{E6C984C5-C6B3-4E33-872D-21C306FC6482}"/>
    <dgm:cxn modelId="{6F320787-6273-4FF1-9D03-C059E92C533D}" srcId="{6DD41F9D-97F2-430E-B4BC-B291179B311F}" destId="{66AF2CFF-B72F-4263-ABC9-9F8FCB19B3BA}" srcOrd="4" destOrd="0" parTransId="{866817AD-4E1F-4996-A09F-7574F21E9C06}" sibTransId="{AD535F98-3C7C-4C86-91AC-E79CAA8A6C82}"/>
    <dgm:cxn modelId="{50931D11-978F-4B6F-9A1E-BCEC01E4E5EF}" srcId="{6DD41F9D-97F2-430E-B4BC-B291179B311F}" destId="{B18286FC-6421-4A53-B5B1-B31EFB10DF77}" srcOrd="3" destOrd="0" parTransId="{2B632858-F276-4CBF-B0D5-C6EC7B6311F7}" sibTransId="{2F96F6AB-60F1-4D7D-8CCD-4A14DBD03827}"/>
    <dgm:cxn modelId="{46578907-357A-4147-B63E-F4FA8F043EFA}" srcId="{6DD41F9D-97F2-430E-B4BC-B291179B311F}" destId="{BA4BB768-9A7F-4A32-BBDC-D067207B2FD9}" srcOrd="5" destOrd="0" parTransId="{92051721-DFA8-4A14-A7ED-C90CC0A2B478}" sibTransId="{43752C45-D83B-47D3-AB7D-5FAA6F417DCB}"/>
    <dgm:cxn modelId="{7FEC2B52-AEED-48EF-A0A3-425DE31E14B5}" type="presParOf" srcId="{2BFF2C39-B9B1-467C-9898-FDEC00C887CD}" destId="{B0946F60-6E92-430E-8411-DC785F8B5C99}" srcOrd="0" destOrd="0" presId="urn:microsoft.com/office/officeart/2005/8/layout/process4"/>
    <dgm:cxn modelId="{9226E35D-2D01-440E-A779-DB219B800A55}" type="presParOf" srcId="{B0946F60-6E92-430E-8411-DC785F8B5C99}" destId="{56280BBC-E0F1-4A3B-A90F-C2AF17311714}" srcOrd="0" destOrd="0" presId="urn:microsoft.com/office/officeart/2005/8/layout/process4"/>
    <dgm:cxn modelId="{7F02954B-5689-406A-BAA5-9D044C074E48}" type="presParOf" srcId="{2BFF2C39-B9B1-467C-9898-FDEC00C887CD}" destId="{71FB71CC-C1A6-461E-AD89-5E225BE80F2F}" srcOrd="1" destOrd="0" presId="urn:microsoft.com/office/officeart/2005/8/layout/process4"/>
    <dgm:cxn modelId="{B463512D-E34A-428D-8AB5-42CCAE6077D3}" type="presParOf" srcId="{2BFF2C39-B9B1-467C-9898-FDEC00C887CD}" destId="{4DACE766-B916-4EFB-A30B-9768C165905C}" srcOrd="2" destOrd="0" presId="urn:microsoft.com/office/officeart/2005/8/layout/process4"/>
    <dgm:cxn modelId="{5880704B-8BD8-42B1-AD38-7F13814590FC}" type="presParOf" srcId="{4DACE766-B916-4EFB-A30B-9768C165905C}" destId="{9CD6A132-E046-4528-9C84-FD1701ACB643}" srcOrd="0" destOrd="0" presId="urn:microsoft.com/office/officeart/2005/8/layout/process4"/>
    <dgm:cxn modelId="{2E87EDCD-4190-4E51-A5AD-02FC935ECA28}" type="presParOf" srcId="{2BFF2C39-B9B1-467C-9898-FDEC00C887CD}" destId="{80F89634-AA6F-460F-AB6A-895F2F386A89}" srcOrd="3" destOrd="0" presId="urn:microsoft.com/office/officeart/2005/8/layout/process4"/>
    <dgm:cxn modelId="{88ED9B03-1679-4FA8-B215-60378FD10DDA}" type="presParOf" srcId="{2BFF2C39-B9B1-467C-9898-FDEC00C887CD}" destId="{23885622-6F1A-4B6D-9376-C10C3BEC3C23}" srcOrd="4" destOrd="0" presId="urn:microsoft.com/office/officeart/2005/8/layout/process4"/>
    <dgm:cxn modelId="{BB1D63F6-0524-47BA-8065-FD41482E5E57}" type="presParOf" srcId="{23885622-6F1A-4B6D-9376-C10C3BEC3C23}" destId="{93C47119-9C57-474A-86EE-A3205750C699}" srcOrd="0" destOrd="0" presId="urn:microsoft.com/office/officeart/2005/8/layout/process4"/>
    <dgm:cxn modelId="{708D7D65-D3C2-4DEB-B746-2C1D9DB01BC7}" type="presParOf" srcId="{2BFF2C39-B9B1-467C-9898-FDEC00C887CD}" destId="{4F8B2FE5-70D4-4BB0-98F6-F119D7C0CF4C}" srcOrd="5" destOrd="0" presId="urn:microsoft.com/office/officeart/2005/8/layout/process4"/>
    <dgm:cxn modelId="{E48DC0C0-DAE3-4EC8-AFA3-61E994BF9151}" type="presParOf" srcId="{2BFF2C39-B9B1-467C-9898-FDEC00C887CD}" destId="{AFB1624C-2A72-4423-A401-EBD511D29F90}" srcOrd="6" destOrd="0" presId="urn:microsoft.com/office/officeart/2005/8/layout/process4"/>
    <dgm:cxn modelId="{88889773-668B-4671-AF3F-EEF8760A0F42}" type="presParOf" srcId="{AFB1624C-2A72-4423-A401-EBD511D29F90}" destId="{0C1A09F1-AA6A-4457-9EE6-9B7605B212CC}" srcOrd="0" destOrd="0" presId="urn:microsoft.com/office/officeart/2005/8/layout/process4"/>
    <dgm:cxn modelId="{310B2826-17C0-4D6B-8FF6-EB2886982F72}" type="presParOf" srcId="{2BFF2C39-B9B1-467C-9898-FDEC00C887CD}" destId="{1D3AE8BA-CB38-4181-9EB2-6DFA5DDD53CD}" srcOrd="7" destOrd="0" presId="urn:microsoft.com/office/officeart/2005/8/layout/process4"/>
    <dgm:cxn modelId="{47D9B511-8B3A-44A9-AF4D-FDE008B1A630}" type="presParOf" srcId="{2BFF2C39-B9B1-467C-9898-FDEC00C887CD}" destId="{BEB4478B-A514-4B66-9D01-22B01F59D483}" srcOrd="8" destOrd="0" presId="urn:microsoft.com/office/officeart/2005/8/layout/process4"/>
    <dgm:cxn modelId="{357583B8-A1AB-451B-A763-C411F8A7710F}" type="presParOf" srcId="{BEB4478B-A514-4B66-9D01-22B01F59D483}" destId="{6E5A5DF5-FEA7-46B2-A140-DB6D6F058063}" srcOrd="0" destOrd="0" presId="urn:microsoft.com/office/officeart/2005/8/layout/process4"/>
    <dgm:cxn modelId="{FD98E113-BA60-4967-8A09-B0290499208C}" type="presParOf" srcId="{2BFF2C39-B9B1-467C-9898-FDEC00C887CD}" destId="{88C58E38-13E7-4D9F-834A-E767E618D172}" srcOrd="9" destOrd="0" presId="urn:microsoft.com/office/officeart/2005/8/layout/process4"/>
    <dgm:cxn modelId="{F387AA24-5BC0-4995-A3A4-7B1943FB43B9}" type="presParOf" srcId="{2BFF2C39-B9B1-467C-9898-FDEC00C887CD}" destId="{27523CFA-DBDA-4A3E-8D3F-D7061C0A24F4}" srcOrd="10" destOrd="0" presId="urn:microsoft.com/office/officeart/2005/8/layout/process4"/>
    <dgm:cxn modelId="{DC6E6535-7F6F-4124-84F1-65B4EB38C292}" type="presParOf" srcId="{27523CFA-DBDA-4A3E-8D3F-D7061C0A24F4}" destId="{B6F0B790-84B4-4834-A4D9-A1B1036A2E85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A326897-7CEB-4804-AC56-9528EE4E8B59}" type="doc">
      <dgm:prSet loTypeId="urn:microsoft.com/office/officeart/2005/8/layout/process5" loCatId="process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CBAA0872-AF44-4AEA-9B81-E65A71089F38}">
      <dgm:prSet phldrT="[Текст]"/>
      <dgm:spPr>
        <a:solidFill>
          <a:srgbClr val="8B4D80"/>
        </a:solidFill>
      </dgm:spPr>
      <dgm:t>
        <a:bodyPr/>
        <a:lstStyle/>
        <a:p>
          <a:r>
            <a:rPr lang="ru-RU" dirty="0" smtClean="0"/>
            <a:t>Определение формата </a:t>
          </a:r>
          <a:r>
            <a:rPr lang="ru-RU" dirty="0" err="1" smtClean="0"/>
            <a:t>инст.исследования</a:t>
          </a:r>
          <a:r>
            <a:rPr lang="ru-RU" dirty="0" smtClean="0"/>
            <a:t>, критериев оценки качества образования, методов измерения, ...</a:t>
          </a:r>
          <a:endParaRPr lang="en-US" dirty="0"/>
        </a:p>
      </dgm:t>
    </dgm:pt>
    <dgm:pt modelId="{EA07C453-B4CB-4EB2-B055-19245C260FA1}" type="parTrans" cxnId="{7349E7C9-316E-4918-AC03-32C123C91346}">
      <dgm:prSet/>
      <dgm:spPr/>
      <dgm:t>
        <a:bodyPr/>
        <a:lstStyle/>
        <a:p>
          <a:endParaRPr lang="en-US"/>
        </a:p>
      </dgm:t>
    </dgm:pt>
    <dgm:pt modelId="{04BD2717-F73A-4D92-A1BB-1B1363CB7FE7}" type="sibTrans" cxnId="{7349E7C9-316E-4918-AC03-32C123C91346}">
      <dgm:prSet/>
      <dgm:spPr>
        <a:solidFill>
          <a:srgbClr val="8B4D80"/>
        </a:solidFill>
      </dgm:spPr>
      <dgm:t>
        <a:bodyPr/>
        <a:lstStyle/>
        <a:p>
          <a:endParaRPr lang="en-US"/>
        </a:p>
      </dgm:t>
    </dgm:pt>
    <dgm:pt modelId="{F1F7FBDE-CB07-4DE1-97D0-DFDF1306516A}">
      <dgm:prSet/>
      <dgm:spPr>
        <a:solidFill>
          <a:srgbClr val="8B4D80"/>
        </a:solidFill>
      </dgm:spPr>
      <dgm:t>
        <a:bodyPr/>
        <a:lstStyle/>
        <a:p>
          <a:r>
            <a:rPr lang="ru-RU" dirty="0" smtClean="0"/>
            <a:t>Планирование времени и ресурсов проекта – 1 </a:t>
          </a:r>
          <a:r>
            <a:rPr lang="ru-RU" dirty="0" err="1" smtClean="0"/>
            <a:t>уч.год</a:t>
          </a:r>
          <a:r>
            <a:rPr lang="ru-RU" dirty="0" smtClean="0"/>
            <a:t>.</a:t>
          </a:r>
        </a:p>
      </dgm:t>
    </dgm:pt>
    <dgm:pt modelId="{FB0631A2-B264-4467-B364-36BEA762E5ED}" type="parTrans" cxnId="{A44863A8-A19C-4B29-8E47-37CF35E65E3F}">
      <dgm:prSet/>
      <dgm:spPr/>
      <dgm:t>
        <a:bodyPr/>
        <a:lstStyle/>
        <a:p>
          <a:endParaRPr lang="en-US"/>
        </a:p>
      </dgm:t>
    </dgm:pt>
    <dgm:pt modelId="{03FBE58B-2EFE-40E9-87BB-22D9FEF7325E}" type="sibTrans" cxnId="{A44863A8-A19C-4B29-8E47-37CF35E65E3F}">
      <dgm:prSet/>
      <dgm:spPr>
        <a:solidFill>
          <a:srgbClr val="8B4D80"/>
        </a:solidFill>
      </dgm:spPr>
      <dgm:t>
        <a:bodyPr/>
        <a:lstStyle/>
        <a:p>
          <a:endParaRPr lang="en-US"/>
        </a:p>
      </dgm:t>
    </dgm:pt>
    <dgm:pt modelId="{5BEF8E80-1793-4A38-864D-724B2BF20A5B}">
      <dgm:prSet/>
      <dgm:spPr>
        <a:solidFill>
          <a:srgbClr val="8B4D80"/>
        </a:solidFill>
      </dgm:spPr>
      <dgm:t>
        <a:bodyPr/>
        <a:lstStyle/>
        <a:p>
          <a:r>
            <a:rPr lang="ru-RU" dirty="0" smtClean="0"/>
            <a:t>Оценка ресурсов  </a:t>
          </a:r>
        </a:p>
      </dgm:t>
    </dgm:pt>
    <dgm:pt modelId="{3E7F7FE4-5E14-4A8D-9B70-82F7A4CD4AF8}" type="parTrans" cxnId="{6DF5554F-8120-4EE7-B069-BDB82C570697}">
      <dgm:prSet/>
      <dgm:spPr/>
      <dgm:t>
        <a:bodyPr/>
        <a:lstStyle/>
        <a:p>
          <a:endParaRPr lang="en-US"/>
        </a:p>
      </dgm:t>
    </dgm:pt>
    <dgm:pt modelId="{4D4B1E8A-83BB-4873-BF9E-BF1F184BB3F5}" type="sibTrans" cxnId="{6DF5554F-8120-4EE7-B069-BDB82C570697}">
      <dgm:prSet/>
      <dgm:spPr>
        <a:solidFill>
          <a:srgbClr val="CC3399"/>
        </a:solidFill>
      </dgm:spPr>
      <dgm:t>
        <a:bodyPr/>
        <a:lstStyle/>
        <a:p>
          <a:endParaRPr lang="en-US"/>
        </a:p>
      </dgm:t>
    </dgm:pt>
    <dgm:pt modelId="{780E0DFC-DAC2-4737-A087-241395479C3D}">
      <dgm:prSet/>
      <dgm:spPr>
        <a:solidFill>
          <a:srgbClr val="CC3399"/>
        </a:solidFill>
      </dgm:spPr>
      <dgm:t>
        <a:bodyPr/>
        <a:lstStyle/>
        <a:p>
          <a:r>
            <a:rPr lang="ru-RU" dirty="0" smtClean="0"/>
            <a:t>Определение формата коммуникации: формы, периодичность, ИТ</a:t>
          </a:r>
        </a:p>
      </dgm:t>
    </dgm:pt>
    <dgm:pt modelId="{EE91B919-9F13-4472-ABB0-B7C2440DF5FA}" type="parTrans" cxnId="{73863700-898C-4B5A-9B67-FB9DCE861400}">
      <dgm:prSet/>
      <dgm:spPr/>
      <dgm:t>
        <a:bodyPr/>
        <a:lstStyle/>
        <a:p>
          <a:endParaRPr lang="en-US"/>
        </a:p>
      </dgm:t>
    </dgm:pt>
    <dgm:pt modelId="{8E156ED8-74E3-4033-BD33-5F3E7448974D}" type="sibTrans" cxnId="{73863700-898C-4B5A-9B67-FB9DCE861400}">
      <dgm:prSet/>
      <dgm:spPr>
        <a:solidFill>
          <a:srgbClr val="CC3399"/>
        </a:solidFill>
      </dgm:spPr>
      <dgm:t>
        <a:bodyPr/>
        <a:lstStyle/>
        <a:p>
          <a:endParaRPr lang="en-US"/>
        </a:p>
      </dgm:t>
    </dgm:pt>
    <dgm:pt modelId="{D9AD9B9C-161B-44BE-8AF8-23D58EB59964}">
      <dgm:prSet/>
      <dgm:spPr>
        <a:solidFill>
          <a:srgbClr val="CC3399"/>
        </a:solidFill>
      </dgm:spPr>
      <dgm:t>
        <a:bodyPr/>
        <a:lstStyle/>
        <a:p>
          <a:r>
            <a:rPr lang="ru-RU" dirty="0" smtClean="0"/>
            <a:t>Отслеживание – соблюдения графика</a:t>
          </a:r>
        </a:p>
      </dgm:t>
    </dgm:pt>
    <dgm:pt modelId="{BE902E9A-7329-4AE6-97BB-A64EE8B73EC2}" type="parTrans" cxnId="{8317B5C0-C196-4501-B093-917C5EF5188F}">
      <dgm:prSet/>
      <dgm:spPr/>
      <dgm:t>
        <a:bodyPr/>
        <a:lstStyle/>
        <a:p>
          <a:endParaRPr lang="en-US"/>
        </a:p>
      </dgm:t>
    </dgm:pt>
    <dgm:pt modelId="{988AFD3A-48D0-456C-AEF8-5C79828977C0}" type="sibTrans" cxnId="{8317B5C0-C196-4501-B093-917C5EF5188F}">
      <dgm:prSet/>
      <dgm:spPr>
        <a:solidFill>
          <a:srgbClr val="CC3399"/>
        </a:solidFill>
      </dgm:spPr>
      <dgm:t>
        <a:bodyPr/>
        <a:lstStyle/>
        <a:p>
          <a:endParaRPr lang="en-US"/>
        </a:p>
      </dgm:t>
    </dgm:pt>
    <dgm:pt modelId="{62DC1F26-92D6-4ACB-AF02-4213DDC3FCF6}">
      <dgm:prSet/>
      <dgm:spPr>
        <a:solidFill>
          <a:srgbClr val="CC3399"/>
        </a:solidFill>
      </dgm:spPr>
      <dgm:t>
        <a:bodyPr/>
        <a:lstStyle/>
        <a:p>
          <a:r>
            <a:rPr lang="ru-RU" dirty="0" smtClean="0"/>
            <a:t>Измерение и анализ данных</a:t>
          </a:r>
        </a:p>
      </dgm:t>
    </dgm:pt>
    <dgm:pt modelId="{F7CA8251-912F-47A8-9BF2-E2F428B4F6D2}" type="parTrans" cxnId="{06883272-FD9E-400D-9FF0-E0E65D7B48F5}">
      <dgm:prSet/>
      <dgm:spPr/>
      <dgm:t>
        <a:bodyPr/>
        <a:lstStyle/>
        <a:p>
          <a:endParaRPr lang="en-US"/>
        </a:p>
      </dgm:t>
    </dgm:pt>
    <dgm:pt modelId="{5364D0E3-1159-4DD8-9686-2E2A570DAF41}" type="sibTrans" cxnId="{06883272-FD9E-400D-9FF0-E0E65D7B48F5}">
      <dgm:prSet/>
      <dgm:spPr>
        <a:solidFill>
          <a:srgbClr val="CC3399"/>
        </a:solidFill>
      </dgm:spPr>
      <dgm:t>
        <a:bodyPr/>
        <a:lstStyle/>
        <a:p>
          <a:endParaRPr lang="en-US"/>
        </a:p>
      </dgm:t>
    </dgm:pt>
    <dgm:pt modelId="{084F33AF-C55F-45A5-A5CC-C95CE5EC5656}">
      <dgm:prSet/>
      <dgm:spPr>
        <a:solidFill>
          <a:srgbClr val="CC3399"/>
        </a:solidFill>
      </dgm:spPr>
      <dgm:t>
        <a:bodyPr/>
        <a:lstStyle/>
        <a:p>
          <a:r>
            <a:rPr lang="ru-RU" dirty="0" smtClean="0"/>
            <a:t>Подготовка отчета о обеспечении качества</a:t>
          </a:r>
        </a:p>
      </dgm:t>
    </dgm:pt>
    <dgm:pt modelId="{9B54DB9C-17F3-4C89-80EF-526DB596AEB0}" type="parTrans" cxnId="{030689AB-5DB2-4D04-A6FD-31FE1287B918}">
      <dgm:prSet/>
      <dgm:spPr/>
      <dgm:t>
        <a:bodyPr/>
        <a:lstStyle/>
        <a:p>
          <a:endParaRPr lang="en-US"/>
        </a:p>
      </dgm:t>
    </dgm:pt>
    <dgm:pt modelId="{BF71D393-6541-4196-BA18-2051C3C893C1}" type="sibTrans" cxnId="{030689AB-5DB2-4D04-A6FD-31FE1287B918}">
      <dgm:prSet/>
      <dgm:spPr>
        <a:solidFill>
          <a:srgbClr val="8B4D80"/>
        </a:solidFill>
      </dgm:spPr>
      <dgm:t>
        <a:bodyPr/>
        <a:lstStyle/>
        <a:p>
          <a:endParaRPr lang="en-US"/>
        </a:p>
      </dgm:t>
    </dgm:pt>
    <dgm:pt modelId="{B571A9F4-3E8F-4112-B397-B044E116D8B3}">
      <dgm:prSet/>
      <dgm:spPr>
        <a:solidFill>
          <a:srgbClr val="8B4D80"/>
        </a:solidFill>
      </dgm:spPr>
      <dgm:t>
        <a:bodyPr/>
        <a:lstStyle/>
        <a:p>
          <a:r>
            <a:rPr lang="ru-RU" dirty="0" smtClean="0"/>
            <a:t>Решение – изменение плана в случае изменении условий и ресурсов</a:t>
          </a:r>
        </a:p>
      </dgm:t>
    </dgm:pt>
    <dgm:pt modelId="{8A6F302D-6E81-4D15-A8CD-7BD47F57DF6E}" type="parTrans" cxnId="{A31182B7-EA3A-47C8-A06F-B4D2A4B4A171}">
      <dgm:prSet/>
      <dgm:spPr/>
      <dgm:t>
        <a:bodyPr/>
        <a:lstStyle/>
        <a:p>
          <a:endParaRPr lang="en-US"/>
        </a:p>
      </dgm:t>
    </dgm:pt>
    <dgm:pt modelId="{D24CBB89-8052-409C-A41E-ADEE07401A15}" type="sibTrans" cxnId="{A31182B7-EA3A-47C8-A06F-B4D2A4B4A171}">
      <dgm:prSet/>
      <dgm:spPr>
        <a:solidFill>
          <a:srgbClr val="8B4D80"/>
        </a:solidFill>
      </dgm:spPr>
      <dgm:t>
        <a:bodyPr/>
        <a:lstStyle/>
        <a:p>
          <a:endParaRPr lang="en-US"/>
        </a:p>
      </dgm:t>
    </dgm:pt>
    <dgm:pt modelId="{AEB6EB79-5A6C-472E-B1B9-740976F7DF51}">
      <dgm:prSet/>
      <dgm:spPr>
        <a:solidFill>
          <a:srgbClr val="8B4D80"/>
        </a:solidFill>
      </dgm:spPr>
      <dgm:t>
        <a:bodyPr/>
        <a:lstStyle/>
        <a:p>
          <a:r>
            <a:rPr lang="ru-RU" dirty="0" smtClean="0"/>
            <a:t>Поддержка проекта</a:t>
          </a:r>
        </a:p>
      </dgm:t>
    </dgm:pt>
    <dgm:pt modelId="{D210234D-B861-4FE8-A099-9E4E934DDBC6}" type="parTrans" cxnId="{9AE25859-7E3D-4F8D-BC26-30B24AA09BA4}">
      <dgm:prSet/>
      <dgm:spPr/>
      <dgm:t>
        <a:bodyPr/>
        <a:lstStyle/>
        <a:p>
          <a:endParaRPr lang="en-US"/>
        </a:p>
      </dgm:t>
    </dgm:pt>
    <dgm:pt modelId="{857CD417-0C77-48BA-8856-87DD0265ED0D}" type="sibTrans" cxnId="{9AE25859-7E3D-4F8D-BC26-30B24AA09BA4}">
      <dgm:prSet/>
      <dgm:spPr>
        <a:solidFill>
          <a:srgbClr val="8B4D80"/>
        </a:solidFill>
      </dgm:spPr>
      <dgm:t>
        <a:bodyPr/>
        <a:lstStyle/>
        <a:p>
          <a:endParaRPr lang="en-US"/>
        </a:p>
      </dgm:t>
    </dgm:pt>
    <dgm:pt modelId="{BF43236A-0E10-48B3-BE28-7E6F748F320C}">
      <dgm:prSet/>
      <dgm:spPr>
        <a:solidFill>
          <a:srgbClr val="8B4D80"/>
        </a:solidFill>
      </dgm:spPr>
      <dgm:t>
        <a:bodyPr/>
        <a:lstStyle/>
        <a:p>
          <a:r>
            <a:rPr lang="ru-RU" dirty="0" smtClean="0"/>
            <a:t>Координирование проекта – новый этап</a:t>
          </a:r>
          <a:endParaRPr lang="en-US" dirty="0"/>
        </a:p>
      </dgm:t>
    </dgm:pt>
    <dgm:pt modelId="{8310258E-815C-41A7-B582-426270C82E8B}" type="parTrans" cxnId="{B5C88D1E-E834-4BB2-BD7C-A43A26E42A9D}">
      <dgm:prSet/>
      <dgm:spPr/>
      <dgm:t>
        <a:bodyPr/>
        <a:lstStyle/>
        <a:p>
          <a:endParaRPr lang="en-US"/>
        </a:p>
      </dgm:t>
    </dgm:pt>
    <dgm:pt modelId="{4849023C-4C76-45E0-A98C-83534CEBDC5B}" type="sibTrans" cxnId="{B5C88D1E-E834-4BB2-BD7C-A43A26E42A9D}">
      <dgm:prSet/>
      <dgm:spPr/>
      <dgm:t>
        <a:bodyPr/>
        <a:lstStyle/>
        <a:p>
          <a:endParaRPr lang="en-US"/>
        </a:p>
      </dgm:t>
    </dgm:pt>
    <dgm:pt modelId="{86C5FD04-1835-423F-A05F-577AC22C6BC6}">
      <dgm:prSet/>
      <dgm:spPr>
        <a:solidFill>
          <a:srgbClr val="8B4D80"/>
        </a:solidFill>
      </dgm:spPr>
      <dgm:t>
        <a:bodyPr/>
        <a:lstStyle/>
        <a:p>
          <a:r>
            <a:rPr lang="ru-RU" dirty="0" smtClean="0"/>
            <a:t>Риски – закрытость вузов, отказ от предоставления данных, отсутствие </a:t>
          </a:r>
          <a:r>
            <a:rPr lang="ru-RU" dirty="0" err="1" smtClean="0"/>
            <a:t>квал.исследователей</a:t>
          </a:r>
          <a:endParaRPr lang="ru-RU" dirty="0" smtClean="0"/>
        </a:p>
      </dgm:t>
    </dgm:pt>
    <dgm:pt modelId="{97C96E9A-1A2D-43A9-B714-84F6022F63B8}" type="parTrans" cxnId="{924E06BA-1169-4949-AB8C-00265BD84ED9}">
      <dgm:prSet/>
      <dgm:spPr/>
      <dgm:t>
        <a:bodyPr/>
        <a:lstStyle/>
        <a:p>
          <a:endParaRPr lang="en-US"/>
        </a:p>
      </dgm:t>
    </dgm:pt>
    <dgm:pt modelId="{2142ADE3-E586-42F9-B813-C287ECBFBE4B}" type="sibTrans" cxnId="{924E06BA-1169-4949-AB8C-00265BD84ED9}">
      <dgm:prSet/>
      <dgm:spPr>
        <a:solidFill>
          <a:srgbClr val="8B4D80"/>
        </a:solidFill>
      </dgm:spPr>
      <dgm:t>
        <a:bodyPr/>
        <a:lstStyle/>
        <a:p>
          <a:endParaRPr lang="en-US"/>
        </a:p>
      </dgm:t>
    </dgm:pt>
    <dgm:pt modelId="{FDD6DDA9-AD71-4086-A957-C224131890C4}">
      <dgm:prSet/>
      <dgm:spPr>
        <a:solidFill>
          <a:srgbClr val="8B4D80"/>
        </a:solidFill>
      </dgm:spPr>
      <dgm:t>
        <a:bodyPr/>
        <a:lstStyle/>
        <a:p>
          <a:r>
            <a:rPr lang="ru-RU" dirty="0" smtClean="0"/>
            <a:t>Формирование команды проекта</a:t>
          </a:r>
        </a:p>
      </dgm:t>
    </dgm:pt>
    <dgm:pt modelId="{4F64201F-D34B-4E72-8134-66E85EE96B91}" type="parTrans" cxnId="{3C788D77-740C-4A70-A3DA-89BE29576DE6}">
      <dgm:prSet/>
      <dgm:spPr/>
      <dgm:t>
        <a:bodyPr/>
        <a:lstStyle/>
        <a:p>
          <a:endParaRPr lang="en-US"/>
        </a:p>
      </dgm:t>
    </dgm:pt>
    <dgm:pt modelId="{81F1B594-03FF-4EA0-A876-AA6AC94227E7}" type="sibTrans" cxnId="{3C788D77-740C-4A70-A3DA-89BE29576DE6}">
      <dgm:prSet/>
      <dgm:spPr>
        <a:solidFill>
          <a:srgbClr val="8B4D80"/>
        </a:solidFill>
      </dgm:spPr>
      <dgm:t>
        <a:bodyPr/>
        <a:lstStyle/>
        <a:p>
          <a:endParaRPr lang="en-US"/>
        </a:p>
      </dgm:t>
    </dgm:pt>
    <dgm:pt modelId="{F84B7DBD-5626-4647-A3B6-B369B4C9F3FE}">
      <dgm:prSet/>
      <dgm:spPr>
        <a:solidFill>
          <a:srgbClr val="CC3399"/>
        </a:solidFill>
      </dgm:spPr>
      <dgm:t>
        <a:bodyPr/>
        <a:lstStyle/>
        <a:p>
          <a:r>
            <a:rPr lang="ru-RU" dirty="0" smtClean="0"/>
            <a:t>Оценка выполнения этапов проекта</a:t>
          </a:r>
        </a:p>
      </dgm:t>
    </dgm:pt>
    <dgm:pt modelId="{01ADDEB6-CFB7-4A8F-BA92-AD0742E43E28}" type="parTrans" cxnId="{0F15FE61-9A93-4BAB-82FB-C488B3EAF7CC}">
      <dgm:prSet/>
      <dgm:spPr/>
      <dgm:t>
        <a:bodyPr/>
        <a:lstStyle/>
        <a:p>
          <a:endParaRPr lang="en-US"/>
        </a:p>
      </dgm:t>
    </dgm:pt>
    <dgm:pt modelId="{E29AF759-2795-40D5-9531-CF49B9354A4E}" type="sibTrans" cxnId="{0F15FE61-9A93-4BAB-82FB-C488B3EAF7CC}">
      <dgm:prSet/>
      <dgm:spPr>
        <a:solidFill>
          <a:srgbClr val="CC3399"/>
        </a:solidFill>
      </dgm:spPr>
      <dgm:t>
        <a:bodyPr/>
        <a:lstStyle/>
        <a:p>
          <a:endParaRPr lang="en-US"/>
        </a:p>
      </dgm:t>
    </dgm:pt>
    <dgm:pt modelId="{E262D361-97E3-4DE8-893A-01A4B5E461EF}">
      <dgm:prSet/>
      <dgm:spPr>
        <a:solidFill>
          <a:srgbClr val="8B4D80"/>
        </a:solidFill>
      </dgm:spPr>
      <dgm:t>
        <a:bodyPr/>
        <a:lstStyle/>
        <a:p>
          <a:r>
            <a:rPr lang="ru-RU" dirty="0" smtClean="0"/>
            <a:t>Анализ прогресс,  в соответствие с планом, результаты и прогноз завершения проекта</a:t>
          </a:r>
        </a:p>
      </dgm:t>
    </dgm:pt>
    <dgm:pt modelId="{55A6AC5C-1A33-4429-82A9-49C3C6A1EB23}" type="parTrans" cxnId="{E64A2BFD-ED5C-4B8C-87F9-617B558F2F89}">
      <dgm:prSet/>
      <dgm:spPr/>
      <dgm:t>
        <a:bodyPr/>
        <a:lstStyle/>
        <a:p>
          <a:endParaRPr lang="en-US"/>
        </a:p>
      </dgm:t>
    </dgm:pt>
    <dgm:pt modelId="{0AD3705B-C59C-413B-90BC-18F33D0341FF}" type="sibTrans" cxnId="{E64A2BFD-ED5C-4B8C-87F9-617B558F2F89}">
      <dgm:prSet/>
      <dgm:spPr>
        <a:solidFill>
          <a:srgbClr val="8B4D80"/>
        </a:solidFill>
      </dgm:spPr>
      <dgm:t>
        <a:bodyPr/>
        <a:lstStyle/>
        <a:p>
          <a:endParaRPr lang="en-US"/>
        </a:p>
      </dgm:t>
    </dgm:pt>
    <dgm:pt modelId="{9BBB2FBE-0A91-4A47-8EE4-5722ECF487DB}">
      <dgm:prSet/>
      <dgm:spPr>
        <a:solidFill>
          <a:srgbClr val="8B4D80"/>
        </a:solidFill>
      </dgm:spPr>
      <dgm:t>
        <a:bodyPr/>
        <a:lstStyle/>
        <a:p>
          <a:r>
            <a:rPr lang="ru-RU" dirty="0" smtClean="0"/>
            <a:t>Информирование общественности</a:t>
          </a:r>
        </a:p>
      </dgm:t>
    </dgm:pt>
    <dgm:pt modelId="{E08231D9-D52F-4A13-9025-4CE9323893D7}" type="parTrans" cxnId="{54B481DE-8062-42E6-B265-2CA867E4218B}">
      <dgm:prSet/>
      <dgm:spPr/>
      <dgm:t>
        <a:bodyPr/>
        <a:lstStyle/>
        <a:p>
          <a:endParaRPr lang="en-US"/>
        </a:p>
      </dgm:t>
    </dgm:pt>
    <dgm:pt modelId="{E176DD89-96A7-4E35-AD3E-E8335393FC5C}" type="sibTrans" cxnId="{54B481DE-8062-42E6-B265-2CA867E4218B}">
      <dgm:prSet/>
      <dgm:spPr>
        <a:solidFill>
          <a:srgbClr val="8B4D80"/>
        </a:solidFill>
      </dgm:spPr>
      <dgm:t>
        <a:bodyPr/>
        <a:lstStyle/>
        <a:p>
          <a:endParaRPr lang="en-US"/>
        </a:p>
      </dgm:t>
    </dgm:pt>
    <dgm:pt modelId="{BB22CFB1-994E-4FA5-8858-F7BD0FAA58F1}" type="pres">
      <dgm:prSet presAssocID="{1A326897-7CEB-4804-AC56-9528EE4E8B5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FCCF971-09D8-4C65-AF2D-4AC3CE136782}" type="pres">
      <dgm:prSet presAssocID="{CBAA0872-AF44-4AEA-9B81-E65A71089F38}" presName="node" presStyleLbl="node1" presStyleIdx="0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2D2232-CC17-48A5-8616-9AC9C820AD99}" type="pres">
      <dgm:prSet presAssocID="{04BD2717-F73A-4D92-A1BB-1B1363CB7FE7}" presName="sibTrans" presStyleLbl="sibTrans2D1" presStyleIdx="0" presStyleCnt="14"/>
      <dgm:spPr/>
      <dgm:t>
        <a:bodyPr/>
        <a:lstStyle/>
        <a:p>
          <a:endParaRPr lang="en-US"/>
        </a:p>
      </dgm:t>
    </dgm:pt>
    <dgm:pt modelId="{F2E9B42D-5DDF-4F44-8DA8-89EE091114E1}" type="pres">
      <dgm:prSet presAssocID="{04BD2717-F73A-4D92-A1BB-1B1363CB7FE7}" presName="connectorText" presStyleLbl="sibTrans2D1" presStyleIdx="0" presStyleCnt="14"/>
      <dgm:spPr/>
      <dgm:t>
        <a:bodyPr/>
        <a:lstStyle/>
        <a:p>
          <a:endParaRPr lang="en-US"/>
        </a:p>
      </dgm:t>
    </dgm:pt>
    <dgm:pt modelId="{2B159FF8-197D-4614-BFD9-85969DD9C42A}" type="pres">
      <dgm:prSet presAssocID="{F1F7FBDE-CB07-4DE1-97D0-DFDF1306516A}" presName="node" presStyleLbl="node1" presStyleIdx="1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C49DF1-285E-4F94-BE47-F522033076CB}" type="pres">
      <dgm:prSet presAssocID="{03FBE58B-2EFE-40E9-87BB-22D9FEF7325E}" presName="sibTrans" presStyleLbl="sibTrans2D1" presStyleIdx="1" presStyleCnt="14"/>
      <dgm:spPr/>
      <dgm:t>
        <a:bodyPr/>
        <a:lstStyle/>
        <a:p>
          <a:endParaRPr lang="en-US"/>
        </a:p>
      </dgm:t>
    </dgm:pt>
    <dgm:pt modelId="{45DE5862-B953-4014-B81B-BC63E44AA08D}" type="pres">
      <dgm:prSet presAssocID="{03FBE58B-2EFE-40E9-87BB-22D9FEF7325E}" presName="connectorText" presStyleLbl="sibTrans2D1" presStyleIdx="1" presStyleCnt="14"/>
      <dgm:spPr/>
      <dgm:t>
        <a:bodyPr/>
        <a:lstStyle/>
        <a:p>
          <a:endParaRPr lang="en-US"/>
        </a:p>
      </dgm:t>
    </dgm:pt>
    <dgm:pt modelId="{B8DA77D0-102F-419A-A0EB-C7EF5FECF0A5}" type="pres">
      <dgm:prSet presAssocID="{86C5FD04-1835-423F-A05F-577AC22C6BC6}" presName="node" presStyleLbl="node1" presStyleIdx="2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B6EA37-3AA2-448D-BAC5-A8D2B63DA871}" type="pres">
      <dgm:prSet presAssocID="{2142ADE3-E586-42F9-B813-C287ECBFBE4B}" presName="sibTrans" presStyleLbl="sibTrans2D1" presStyleIdx="2" presStyleCnt="14"/>
      <dgm:spPr/>
      <dgm:t>
        <a:bodyPr/>
        <a:lstStyle/>
        <a:p>
          <a:endParaRPr lang="en-US"/>
        </a:p>
      </dgm:t>
    </dgm:pt>
    <dgm:pt modelId="{599EB54C-2585-47B8-AAF9-96627E0218E0}" type="pres">
      <dgm:prSet presAssocID="{2142ADE3-E586-42F9-B813-C287ECBFBE4B}" presName="connectorText" presStyleLbl="sibTrans2D1" presStyleIdx="2" presStyleCnt="14"/>
      <dgm:spPr/>
      <dgm:t>
        <a:bodyPr/>
        <a:lstStyle/>
        <a:p>
          <a:endParaRPr lang="en-US"/>
        </a:p>
      </dgm:t>
    </dgm:pt>
    <dgm:pt modelId="{18FEED9A-7261-4D13-ABA8-CC3CDEA7178E}" type="pres">
      <dgm:prSet presAssocID="{FDD6DDA9-AD71-4086-A957-C224131890C4}" presName="node" presStyleLbl="node1" presStyleIdx="3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51A85C-AC8C-440B-8547-C251D520A0D8}" type="pres">
      <dgm:prSet presAssocID="{81F1B594-03FF-4EA0-A876-AA6AC94227E7}" presName="sibTrans" presStyleLbl="sibTrans2D1" presStyleIdx="3" presStyleCnt="14"/>
      <dgm:spPr/>
      <dgm:t>
        <a:bodyPr/>
        <a:lstStyle/>
        <a:p>
          <a:endParaRPr lang="en-US"/>
        </a:p>
      </dgm:t>
    </dgm:pt>
    <dgm:pt modelId="{3A9F8FD7-FCF8-4CF3-975A-F5C0D72BC094}" type="pres">
      <dgm:prSet presAssocID="{81F1B594-03FF-4EA0-A876-AA6AC94227E7}" presName="connectorText" presStyleLbl="sibTrans2D1" presStyleIdx="3" presStyleCnt="14"/>
      <dgm:spPr/>
      <dgm:t>
        <a:bodyPr/>
        <a:lstStyle/>
        <a:p>
          <a:endParaRPr lang="en-US"/>
        </a:p>
      </dgm:t>
    </dgm:pt>
    <dgm:pt modelId="{4056574B-1360-4030-BB7F-CB5D3E244C44}" type="pres">
      <dgm:prSet presAssocID="{5BEF8E80-1793-4A38-864D-724B2BF20A5B}" presName="node" presStyleLbl="node1" presStyleIdx="4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62ABEE-291B-4332-A6EF-B95A61E71BF8}" type="pres">
      <dgm:prSet presAssocID="{4D4B1E8A-83BB-4873-BF9E-BF1F184BB3F5}" presName="sibTrans" presStyleLbl="sibTrans2D1" presStyleIdx="4" presStyleCnt="14"/>
      <dgm:spPr/>
      <dgm:t>
        <a:bodyPr/>
        <a:lstStyle/>
        <a:p>
          <a:endParaRPr lang="en-US"/>
        </a:p>
      </dgm:t>
    </dgm:pt>
    <dgm:pt modelId="{9168EDEB-5C27-4021-ACBB-893256EF8E21}" type="pres">
      <dgm:prSet presAssocID="{4D4B1E8A-83BB-4873-BF9E-BF1F184BB3F5}" presName="connectorText" presStyleLbl="sibTrans2D1" presStyleIdx="4" presStyleCnt="14"/>
      <dgm:spPr/>
      <dgm:t>
        <a:bodyPr/>
        <a:lstStyle/>
        <a:p>
          <a:endParaRPr lang="en-US"/>
        </a:p>
      </dgm:t>
    </dgm:pt>
    <dgm:pt modelId="{FD66DF65-C14D-44FA-B046-0EB57DE3EB4F}" type="pres">
      <dgm:prSet presAssocID="{780E0DFC-DAC2-4737-A087-241395479C3D}" presName="node" presStyleLbl="node1" presStyleIdx="5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9C3F12-F7C1-4872-89BC-D2978E7C0ACE}" type="pres">
      <dgm:prSet presAssocID="{8E156ED8-74E3-4033-BD33-5F3E7448974D}" presName="sibTrans" presStyleLbl="sibTrans2D1" presStyleIdx="5" presStyleCnt="14"/>
      <dgm:spPr/>
      <dgm:t>
        <a:bodyPr/>
        <a:lstStyle/>
        <a:p>
          <a:endParaRPr lang="en-US"/>
        </a:p>
      </dgm:t>
    </dgm:pt>
    <dgm:pt modelId="{5C14F384-3C88-4471-97AA-32699FD2E4E9}" type="pres">
      <dgm:prSet presAssocID="{8E156ED8-74E3-4033-BD33-5F3E7448974D}" presName="connectorText" presStyleLbl="sibTrans2D1" presStyleIdx="5" presStyleCnt="14"/>
      <dgm:spPr/>
      <dgm:t>
        <a:bodyPr/>
        <a:lstStyle/>
        <a:p>
          <a:endParaRPr lang="en-US"/>
        </a:p>
      </dgm:t>
    </dgm:pt>
    <dgm:pt modelId="{0ABE59B9-5E36-4299-8730-F83EE7C1639C}" type="pres">
      <dgm:prSet presAssocID="{D9AD9B9C-161B-44BE-8AF8-23D58EB59964}" presName="node" presStyleLbl="node1" presStyleIdx="6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62BCF8-76DC-476B-8D1A-21D3A9DFDA31}" type="pres">
      <dgm:prSet presAssocID="{988AFD3A-48D0-456C-AEF8-5C79828977C0}" presName="sibTrans" presStyleLbl="sibTrans2D1" presStyleIdx="6" presStyleCnt="14"/>
      <dgm:spPr/>
      <dgm:t>
        <a:bodyPr/>
        <a:lstStyle/>
        <a:p>
          <a:endParaRPr lang="en-US"/>
        </a:p>
      </dgm:t>
    </dgm:pt>
    <dgm:pt modelId="{C74251A8-DDFF-4D26-8A39-224F9D04BC90}" type="pres">
      <dgm:prSet presAssocID="{988AFD3A-48D0-456C-AEF8-5C79828977C0}" presName="connectorText" presStyleLbl="sibTrans2D1" presStyleIdx="6" presStyleCnt="14"/>
      <dgm:spPr/>
      <dgm:t>
        <a:bodyPr/>
        <a:lstStyle/>
        <a:p>
          <a:endParaRPr lang="en-US"/>
        </a:p>
      </dgm:t>
    </dgm:pt>
    <dgm:pt modelId="{66B5FDF5-490A-4C07-88E0-28A9F7F24B1A}" type="pres">
      <dgm:prSet presAssocID="{62DC1F26-92D6-4ACB-AF02-4213DDC3FCF6}" presName="node" presStyleLbl="node1" presStyleIdx="7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F6AD6D-D484-4745-AAFB-D418AE1FF210}" type="pres">
      <dgm:prSet presAssocID="{5364D0E3-1159-4DD8-9686-2E2A570DAF41}" presName="sibTrans" presStyleLbl="sibTrans2D1" presStyleIdx="7" presStyleCnt="14"/>
      <dgm:spPr/>
      <dgm:t>
        <a:bodyPr/>
        <a:lstStyle/>
        <a:p>
          <a:endParaRPr lang="en-US"/>
        </a:p>
      </dgm:t>
    </dgm:pt>
    <dgm:pt modelId="{BCC79A2B-8E66-4239-905A-B867B3B9D9AC}" type="pres">
      <dgm:prSet presAssocID="{5364D0E3-1159-4DD8-9686-2E2A570DAF41}" presName="connectorText" presStyleLbl="sibTrans2D1" presStyleIdx="7" presStyleCnt="14"/>
      <dgm:spPr/>
      <dgm:t>
        <a:bodyPr/>
        <a:lstStyle/>
        <a:p>
          <a:endParaRPr lang="en-US"/>
        </a:p>
      </dgm:t>
    </dgm:pt>
    <dgm:pt modelId="{454E5565-4B39-4B86-BBC8-F5E17538ED5F}" type="pres">
      <dgm:prSet presAssocID="{F84B7DBD-5626-4647-A3B6-B369B4C9F3FE}" presName="node" presStyleLbl="node1" presStyleIdx="8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2D72C9-7FCE-4AB9-95AF-5068E904464B}" type="pres">
      <dgm:prSet presAssocID="{E29AF759-2795-40D5-9531-CF49B9354A4E}" presName="sibTrans" presStyleLbl="sibTrans2D1" presStyleIdx="8" presStyleCnt="14"/>
      <dgm:spPr/>
      <dgm:t>
        <a:bodyPr/>
        <a:lstStyle/>
        <a:p>
          <a:endParaRPr lang="en-US"/>
        </a:p>
      </dgm:t>
    </dgm:pt>
    <dgm:pt modelId="{60851F56-6A91-42FA-9F50-A307A63404DF}" type="pres">
      <dgm:prSet presAssocID="{E29AF759-2795-40D5-9531-CF49B9354A4E}" presName="connectorText" presStyleLbl="sibTrans2D1" presStyleIdx="8" presStyleCnt="14"/>
      <dgm:spPr/>
      <dgm:t>
        <a:bodyPr/>
        <a:lstStyle/>
        <a:p>
          <a:endParaRPr lang="en-US"/>
        </a:p>
      </dgm:t>
    </dgm:pt>
    <dgm:pt modelId="{39BD7EA2-9B67-4025-8517-06AFEA7F3F3C}" type="pres">
      <dgm:prSet presAssocID="{084F33AF-C55F-45A5-A5CC-C95CE5EC5656}" presName="node" presStyleLbl="node1" presStyleIdx="9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884851-E287-4179-82A5-9E463B63261A}" type="pres">
      <dgm:prSet presAssocID="{BF71D393-6541-4196-BA18-2051C3C893C1}" presName="sibTrans" presStyleLbl="sibTrans2D1" presStyleIdx="9" presStyleCnt="14"/>
      <dgm:spPr/>
      <dgm:t>
        <a:bodyPr/>
        <a:lstStyle/>
        <a:p>
          <a:endParaRPr lang="en-US"/>
        </a:p>
      </dgm:t>
    </dgm:pt>
    <dgm:pt modelId="{90EF9F8E-DF78-4FE8-A12A-18789720DB2E}" type="pres">
      <dgm:prSet presAssocID="{BF71D393-6541-4196-BA18-2051C3C893C1}" presName="connectorText" presStyleLbl="sibTrans2D1" presStyleIdx="9" presStyleCnt="14"/>
      <dgm:spPr/>
      <dgm:t>
        <a:bodyPr/>
        <a:lstStyle/>
        <a:p>
          <a:endParaRPr lang="en-US"/>
        </a:p>
      </dgm:t>
    </dgm:pt>
    <dgm:pt modelId="{176D150D-1508-4C6B-923C-85F7DDFD408B}" type="pres">
      <dgm:prSet presAssocID="{E262D361-97E3-4DE8-893A-01A4B5E461EF}" presName="node" presStyleLbl="node1" presStyleIdx="10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E59EBC-7CF7-4128-886F-A01ABF47B50B}" type="pres">
      <dgm:prSet presAssocID="{0AD3705B-C59C-413B-90BC-18F33D0341FF}" presName="sibTrans" presStyleLbl="sibTrans2D1" presStyleIdx="10" presStyleCnt="14"/>
      <dgm:spPr/>
      <dgm:t>
        <a:bodyPr/>
        <a:lstStyle/>
        <a:p>
          <a:endParaRPr lang="en-US"/>
        </a:p>
      </dgm:t>
    </dgm:pt>
    <dgm:pt modelId="{E9A2F6E1-232C-47E1-8FE8-59DE53B4127C}" type="pres">
      <dgm:prSet presAssocID="{0AD3705B-C59C-413B-90BC-18F33D0341FF}" presName="connectorText" presStyleLbl="sibTrans2D1" presStyleIdx="10" presStyleCnt="14"/>
      <dgm:spPr/>
      <dgm:t>
        <a:bodyPr/>
        <a:lstStyle/>
        <a:p>
          <a:endParaRPr lang="en-US"/>
        </a:p>
      </dgm:t>
    </dgm:pt>
    <dgm:pt modelId="{D07CA502-052B-456F-B53F-C19E2580F956}" type="pres">
      <dgm:prSet presAssocID="{B571A9F4-3E8F-4112-B397-B044E116D8B3}" presName="node" presStyleLbl="node1" presStyleIdx="11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9F1E6A-1C16-4CED-8845-24736516B5B1}" type="pres">
      <dgm:prSet presAssocID="{D24CBB89-8052-409C-A41E-ADEE07401A15}" presName="sibTrans" presStyleLbl="sibTrans2D1" presStyleIdx="11" presStyleCnt="14"/>
      <dgm:spPr/>
      <dgm:t>
        <a:bodyPr/>
        <a:lstStyle/>
        <a:p>
          <a:endParaRPr lang="en-US"/>
        </a:p>
      </dgm:t>
    </dgm:pt>
    <dgm:pt modelId="{F0244B1E-269C-4480-857C-B58D77E00F98}" type="pres">
      <dgm:prSet presAssocID="{D24CBB89-8052-409C-A41E-ADEE07401A15}" presName="connectorText" presStyleLbl="sibTrans2D1" presStyleIdx="11" presStyleCnt="14"/>
      <dgm:spPr/>
      <dgm:t>
        <a:bodyPr/>
        <a:lstStyle/>
        <a:p>
          <a:endParaRPr lang="en-US"/>
        </a:p>
      </dgm:t>
    </dgm:pt>
    <dgm:pt modelId="{DADE7F08-744D-4937-8034-B53DA6E96290}" type="pres">
      <dgm:prSet presAssocID="{9BBB2FBE-0A91-4A47-8EE4-5722ECF487DB}" presName="node" presStyleLbl="node1" presStyleIdx="12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BDC3B1-3C3A-460F-A680-C5CA390F1CDD}" type="pres">
      <dgm:prSet presAssocID="{E176DD89-96A7-4E35-AD3E-E8335393FC5C}" presName="sibTrans" presStyleLbl="sibTrans2D1" presStyleIdx="12" presStyleCnt="14"/>
      <dgm:spPr/>
      <dgm:t>
        <a:bodyPr/>
        <a:lstStyle/>
        <a:p>
          <a:endParaRPr lang="en-US"/>
        </a:p>
      </dgm:t>
    </dgm:pt>
    <dgm:pt modelId="{E6A91A7D-95CE-46DE-A8FF-31AAD0718170}" type="pres">
      <dgm:prSet presAssocID="{E176DD89-96A7-4E35-AD3E-E8335393FC5C}" presName="connectorText" presStyleLbl="sibTrans2D1" presStyleIdx="12" presStyleCnt="14"/>
      <dgm:spPr/>
      <dgm:t>
        <a:bodyPr/>
        <a:lstStyle/>
        <a:p>
          <a:endParaRPr lang="en-US"/>
        </a:p>
      </dgm:t>
    </dgm:pt>
    <dgm:pt modelId="{F98B755D-CC32-4CEF-93AD-AC12C2896C10}" type="pres">
      <dgm:prSet presAssocID="{AEB6EB79-5A6C-472E-B1B9-740976F7DF51}" presName="node" presStyleLbl="node1" presStyleIdx="13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74B305-8C66-4826-8C29-23D6D325421D}" type="pres">
      <dgm:prSet presAssocID="{857CD417-0C77-48BA-8856-87DD0265ED0D}" presName="sibTrans" presStyleLbl="sibTrans2D1" presStyleIdx="13" presStyleCnt="14"/>
      <dgm:spPr/>
      <dgm:t>
        <a:bodyPr/>
        <a:lstStyle/>
        <a:p>
          <a:endParaRPr lang="en-US"/>
        </a:p>
      </dgm:t>
    </dgm:pt>
    <dgm:pt modelId="{8B21A0C2-A1E4-422A-A95A-BC16610718FA}" type="pres">
      <dgm:prSet presAssocID="{857CD417-0C77-48BA-8856-87DD0265ED0D}" presName="connectorText" presStyleLbl="sibTrans2D1" presStyleIdx="13" presStyleCnt="14"/>
      <dgm:spPr/>
      <dgm:t>
        <a:bodyPr/>
        <a:lstStyle/>
        <a:p>
          <a:endParaRPr lang="en-US"/>
        </a:p>
      </dgm:t>
    </dgm:pt>
    <dgm:pt modelId="{BCE2A4C5-CAFB-4B0F-8731-B6F387CD1CDB}" type="pres">
      <dgm:prSet presAssocID="{BF43236A-0E10-48B3-BE28-7E6F748F320C}" presName="node" presStyleLbl="node1" presStyleIdx="14" presStyleCnt="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3863700-898C-4B5A-9B67-FB9DCE861400}" srcId="{1A326897-7CEB-4804-AC56-9528EE4E8B59}" destId="{780E0DFC-DAC2-4737-A087-241395479C3D}" srcOrd="5" destOrd="0" parTransId="{EE91B919-9F13-4472-ABB0-B7C2440DF5FA}" sibTransId="{8E156ED8-74E3-4033-BD33-5F3E7448974D}"/>
    <dgm:cxn modelId="{E9128444-DB88-4584-8B99-C3A870A5E34D}" type="presOf" srcId="{81F1B594-03FF-4EA0-A876-AA6AC94227E7}" destId="{A351A85C-AC8C-440B-8547-C251D520A0D8}" srcOrd="0" destOrd="0" presId="urn:microsoft.com/office/officeart/2005/8/layout/process5"/>
    <dgm:cxn modelId="{3C3A877E-5168-4284-975A-F624358A7705}" type="presOf" srcId="{0AD3705B-C59C-413B-90BC-18F33D0341FF}" destId="{E9A2F6E1-232C-47E1-8FE8-59DE53B4127C}" srcOrd="1" destOrd="0" presId="urn:microsoft.com/office/officeart/2005/8/layout/process5"/>
    <dgm:cxn modelId="{A31182B7-EA3A-47C8-A06F-B4D2A4B4A171}" srcId="{1A326897-7CEB-4804-AC56-9528EE4E8B59}" destId="{B571A9F4-3E8F-4112-B397-B044E116D8B3}" srcOrd="11" destOrd="0" parTransId="{8A6F302D-6E81-4D15-A8CD-7BD47F57DF6E}" sibTransId="{D24CBB89-8052-409C-A41E-ADEE07401A15}"/>
    <dgm:cxn modelId="{924E06BA-1169-4949-AB8C-00265BD84ED9}" srcId="{1A326897-7CEB-4804-AC56-9528EE4E8B59}" destId="{86C5FD04-1835-423F-A05F-577AC22C6BC6}" srcOrd="2" destOrd="0" parTransId="{97C96E9A-1A2D-43A9-B714-84F6022F63B8}" sibTransId="{2142ADE3-E586-42F9-B813-C287ECBFBE4B}"/>
    <dgm:cxn modelId="{A781F5A2-9F52-46CF-9F78-7D67CB42F865}" type="presOf" srcId="{988AFD3A-48D0-456C-AEF8-5C79828977C0}" destId="{C74251A8-DDFF-4D26-8A39-224F9D04BC90}" srcOrd="1" destOrd="0" presId="urn:microsoft.com/office/officeart/2005/8/layout/process5"/>
    <dgm:cxn modelId="{14417FFF-A208-4169-899B-9102D89D7C4A}" type="presOf" srcId="{E176DD89-96A7-4E35-AD3E-E8335393FC5C}" destId="{E6A91A7D-95CE-46DE-A8FF-31AAD0718170}" srcOrd="1" destOrd="0" presId="urn:microsoft.com/office/officeart/2005/8/layout/process5"/>
    <dgm:cxn modelId="{86D2CB18-EDDF-41C8-AF87-EC372CBA2AC0}" type="presOf" srcId="{62DC1F26-92D6-4ACB-AF02-4213DDC3FCF6}" destId="{66B5FDF5-490A-4C07-88E0-28A9F7F24B1A}" srcOrd="0" destOrd="0" presId="urn:microsoft.com/office/officeart/2005/8/layout/process5"/>
    <dgm:cxn modelId="{DEF05B98-DF62-48D6-9BFC-2502C1434A1B}" type="presOf" srcId="{084F33AF-C55F-45A5-A5CC-C95CE5EC5656}" destId="{39BD7EA2-9B67-4025-8517-06AFEA7F3F3C}" srcOrd="0" destOrd="0" presId="urn:microsoft.com/office/officeart/2005/8/layout/process5"/>
    <dgm:cxn modelId="{5CDCCBB1-D18D-40AB-B93D-B62F3D680D2C}" type="presOf" srcId="{86C5FD04-1835-423F-A05F-577AC22C6BC6}" destId="{B8DA77D0-102F-419A-A0EB-C7EF5FECF0A5}" srcOrd="0" destOrd="0" presId="urn:microsoft.com/office/officeart/2005/8/layout/process5"/>
    <dgm:cxn modelId="{CFBEDC1F-DDC4-4B7E-894E-C350CFE09C17}" type="presOf" srcId="{03FBE58B-2EFE-40E9-87BB-22D9FEF7325E}" destId="{45DE5862-B953-4014-B81B-BC63E44AA08D}" srcOrd="1" destOrd="0" presId="urn:microsoft.com/office/officeart/2005/8/layout/process5"/>
    <dgm:cxn modelId="{6BF7AEBD-93A8-4E88-9FFF-A14977E503E7}" type="presOf" srcId="{F84B7DBD-5626-4647-A3B6-B369B4C9F3FE}" destId="{454E5565-4B39-4B86-BBC8-F5E17538ED5F}" srcOrd="0" destOrd="0" presId="urn:microsoft.com/office/officeart/2005/8/layout/process5"/>
    <dgm:cxn modelId="{F780C49A-9AB2-4640-AE71-2C5BE5AF2569}" type="presOf" srcId="{03FBE58B-2EFE-40E9-87BB-22D9FEF7325E}" destId="{EDC49DF1-285E-4F94-BE47-F522033076CB}" srcOrd="0" destOrd="0" presId="urn:microsoft.com/office/officeart/2005/8/layout/process5"/>
    <dgm:cxn modelId="{531CB603-5478-4B39-B1DA-3C9A4CF4E802}" type="presOf" srcId="{AEB6EB79-5A6C-472E-B1B9-740976F7DF51}" destId="{F98B755D-CC32-4CEF-93AD-AC12C2896C10}" srcOrd="0" destOrd="0" presId="urn:microsoft.com/office/officeart/2005/8/layout/process5"/>
    <dgm:cxn modelId="{5B0E7573-EA9D-44EF-9387-507ADC82C00C}" type="presOf" srcId="{CBAA0872-AF44-4AEA-9B81-E65A71089F38}" destId="{1FCCF971-09D8-4C65-AF2D-4AC3CE136782}" srcOrd="0" destOrd="0" presId="urn:microsoft.com/office/officeart/2005/8/layout/process5"/>
    <dgm:cxn modelId="{C89F85A2-A671-49C7-B8D6-C2D18588BF4D}" type="presOf" srcId="{BF43236A-0E10-48B3-BE28-7E6F748F320C}" destId="{BCE2A4C5-CAFB-4B0F-8731-B6F387CD1CDB}" srcOrd="0" destOrd="0" presId="urn:microsoft.com/office/officeart/2005/8/layout/process5"/>
    <dgm:cxn modelId="{B5C88D1E-E834-4BB2-BD7C-A43A26E42A9D}" srcId="{1A326897-7CEB-4804-AC56-9528EE4E8B59}" destId="{BF43236A-0E10-48B3-BE28-7E6F748F320C}" srcOrd="14" destOrd="0" parTransId="{8310258E-815C-41A7-B582-426270C82E8B}" sibTransId="{4849023C-4C76-45E0-A98C-83534CEBDC5B}"/>
    <dgm:cxn modelId="{06883272-FD9E-400D-9FF0-E0E65D7B48F5}" srcId="{1A326897-7CEB-4804-AC56-9528EE4E8B59}" destId="{62DC1F26-92D6-4ACB-AF02-4213DDC3FCF6}" srcOrd="7" destOrd="0" parTransId="{F7CA8251-912F-47A8-9BF2-E2F428B4F6D2}" sibTransId="{5364D0E3-1159-4DD8-9686-2E2A570DAF41}"/>
    <dgm:cxn modelId="{E7B51C24-A749-4DA1-B8C7-3B7DF2025B10}" type="presOf" srcId="{857CD417-0C77-48BA-8856-87DD0265ED0D}" destId="{8B21A0C2-A1E4-422A-A95A-BC16610718FA}" srcOrd="1" destOrd="0" presId="urn:microsoft.com/office/officeart/2005/8/layout/process5"/>
    <dgm:cxn modelId="{4746F924-BF32-4E98-85F2-0715AB1C0C31}" type="presOf" srcId="{FDD6DDA9-AD71-4086-A957-C224131890C4}" destId="{18FEED9A-7261-4D13-ABA8-CC3CDEA7178E}" srcOrd="0" destOrd="0" presId="urn:microsoft.com/office/officeart/2005/8/layout/process5"/>
    <dgm:cxn modelId="{7349E7C9-316E-4918-AC03-32C123C91346}" srcId="{1A326897-7CEB-4804-AC56-9528EE4E8B59}" destId="{CBAA0872-AF44-4AEA-9B81-E65A71089F38}" srcOrd="0" destOrd="0" parTransId="{EA07C453-B4CB-4EB2-B055-19245C260FA1}" sibTransId="{04BD2717-F73A-4D92-A1BB-1B1363CB7FE7}"/>
    <dgm:cxn modelId="{6B93B130-D45C-49BC-BCB1-5F00BD7DA33E}" type="presOf" srcId="{2142ADE3-E586-42F9-B813-C287ECBFBE4B}" destId="{599EB54C-2585-47B8-AAF9-96627E0218E0}" srcOrd="1" destOrd="0" presId="urn:microsoft.com/office/officeart/2005/8/layout/process5"/>
    <dgm:cxn modelId="{86DD1684-15A9-4BCB-972D-8EF49F9F878C}" type="presOf" srcId="{BF71D393-6541-4196-BA18-2051C3C893C1}" destId="{FA884851-E287-4179-82A5-9E463B63261A}" srcOrd="0" destOrd="0" presId="urn:microsoft.com/office/officeart/2005/8/layout/process5"/>
    <dgm:cxn modelId="{3C788D77-740C-4A70-A3DA-89BE29576DE6}" srcId="{1A326897-7CEB-4804-AC56-9528EE4E8B59}" destId="{FDD6DDA9-AD71-4086-A957-C224131890C4}" srcOrd="3" destOrd="0" parTransId="{4F64201F-D34B-4E72-8134-66E85EE96B91}" sibTransId="{81F1B594-03FF-4EA0-A876-AA6AC94227E7}"/>
    <dgm:cxn modelId="{A31F9A66-ADF4-41D2-9203-A65F8197DF55}" type="presOf" srcId="{857CD417-0C77-48BA-8856-87DD0265ED0D}" destId="{D274B305-8C66-4826-8C29-23D6D325421D}" srcOrd="0" destOrd="0" presId="urn:microsoft.com/office/officeart/2005/8/layout/process5"/>
    <dgm:cxn modelId="{48D66445-46FE-4C10-9242-E9CA10E4325E}" type="presOf" srcId="{5364D0E3-1159-4DD8-9686-2E2A570DAF41}" destId="{BCC79A2B-8E66-4239-905A-B867B3B9D9AC}" srcOrd="1" destOrd="0" presId="urn:microsoft.com/office/officeart/2005/8/layout/process5"/>
    <dgm:cxn modelId="{030689AB-5DB2-4D04-A6FD-31FE1287B918}" srcId="{1A326897-7CEB-4804-AC56-9528EE4E8B59}" destId="{084F33AF-C55F-45A5-A5CC-C95CE5EC5656}" srcOrd="9" destOrd="0" parTransId="{9B54DB9C-17F3-4C89-80EF-526DB596AEB0}" sibTransId="{BF71D393-6541-4196-BA18-2051C3C893C1}"/>
    <dgm:cxn modelId="{9AE25859-7E3D-4F8D-BC26-30B24AA09BA4}" srcId="{1A326897-7CEB-4804-AC56-9528EE4E8B59}" destId="{AEB6EB79-5A6C-472E-B1B9-740976F7DF51}" srcOrd="13" destOrd="0" parTransId="{D210234D-B861-4FE8-A099-9E4E934DDBC6}" sibTransId="{857CD417-0C77-48BA-8856-87DD0265ED0D}"/>
    <dgm:cxn modelId="{7691B2B6-1645-49B1-ADE9-58EA63536AFE}" type="presOf" srcId="{04BD2717-F73A-4D92-A1BB-1B1363CB7FE7}" destId="{8A2D2232-CC17-48A5-8616-9AC9C820AD99}" srcOrd="0" destOrd="0" presId="urn:microsoft.com/office/officeart/2005/8/layout/process5"/>
    <dgm:cxn modelId="{EC8F085F-460F-4951-B5F6-DD72EFD5E5D6}" type="presOf" srcId="{81F1B594-03FF-4EA0-A876-AA6AC94227E7}" destId="{3A9F8FD7-FCF8-4CF3-975A-F5C0D72BC094}" srcOrd="1" destOrd="0" presId="urn:microsoft.com/office/officeart/2005/8/layout/process5"/>
    <dgm:cxn modelId="{94A03EB0-A3AE-4DBC-88D3-812BB7D618C5}" type="presOf" srcId="{8E156ED8-74E3-4033-BD33-5F3E7448974D}" destId="{E09C3F12-F7C1-4872-89BC-D2978E7C0ACE}" srcOrd="0" destOrd="0" presId="urn:microsoft.com/office/officeart/2005/8/layout/process5"/>
    <dgm:cxn modelId="{CB1A612E-FEB1-4E91-BBF0-A8FB4A0F33B3}" type="presOf" srcId="{988AFD3A-48D0-456C-AEF8-5C79828977C0}" destId="{7E62BCF8-76DC-476B-8D1A-21D3A9DFDA31}" srcOrd="0" destOrd="0" presId="urn:microsoft.com/office/officeart/2005/8/layout/process5"/>
    <dgm:cxn modelId="{E1B0AB9A-4889-4C23-9B87-267BD546E773}" type="presOf" srcId="{E29AF759-2795-40D5-9531-CF49B9354A4E}" destId="{60851F56-6A91-42FA-9F50-A307A63404DF}" srcOrd="1" destOrd="0" presId="urn:microsoft.com/office/officeart/2005/8/layout/process5"/>
    <dgm:cxn modelId="{BF568BB8-F000-4541-9987-830FCED73A4A}" type="presOf" srcId="{E262D361-97E3-4DE8-893A-01A4B5E461EF}" destId="{176D150D-1508-4C6B-923C-85F7DDFD408B}" srcOrd="0" destOrd="0" presId="urn:microsoft.com/office/officeart/2005/8/layout/process5"/>
    <dgm:cxn modelId="{D0A25D5C-5256-46D1-9D91-7D3ECB4A1E2F}" type="presOf" srcId="{D9AD9B9C-161B-44BE-8AF8-23D58EB59964}" destId="{0ABE59B9-5E36-4299-8730-F83EE7C1639C}" srcOrd="0" destOrd="0" presId="urn:microsoft.com/office/officeart/2005/8/layout/process5"/>
    <dgm:cxn modelId="{58BC330A-A4BC-435F-AC22-4F7B6DDEF94E}" type="presOf" srcId="{0AD3705B-C59C-413B-90BC-18F33D0341FF}" destId="{17E59EBC-7CF7-4128-886F-A01ABF47B50B}" srcOrd="0" destOrd="0" presId="urn:microsoft.com/office/officeart/2005/8/layout/process5"/>
    <dgm:cxn modelId="{55661F6D-0D84-4EA7-9BC8-CD251DE2250B}" type="presOf" srcId="{780E0DFC-DAC2-4737-A087-241395479C3D}" destId="{FD66DF65-C14D-44FA-B046-0EB57DE3EB4F}" srcOrd="0" destOrd="0" presId="urn:microsoft.com/office/officeart/2005/8/layout/process5"/>
    <dgm:cxn modelId="{044F370A-8F16-46FC-B249-A60C448923AA}" type="presOf" srcId="{9BBB2FBE-0A91-4A47-8EE4-5722ECF487DB}" destId="{DADE7F08-744D-4937-8034-B53DA6E96290}" srcOrd="0" destOrd="0" presId="urn:microsoft.com/office/officeart/2005/8/layout/process5"/>
    <dgm:cxn modelId="{659D48AF-DB02-4584-8C16-DD8CA9782D07}" type="presOf" srcId="{F1F7FBDE-CB07-4DE1-97D0-DFDF1306516A}" destId="{2B159FF8-197D-4614-BFD9-85969DD9C42A}" srcOrd="0" destOrd="0" presId="urn:microsoft.com/office/officeart/2005/8/layout/process5"/>
    <dgm:cxn modelId="{54B481DE-8062-42E6-B265-2CA867E4218B}" srcId="{1A326897-7CEB-4804-AC56-9528EE4E8B59}" destId="{9BBB2FBE-0A91-4A47-8EE4-5722ECF487DB}" srcOrd="12" destOrd="0" parTransId="{E08231D9-D52F-4A13-9025-4CE9323893D7}" sibTransId="{E176DD89-96A7-4E35-AD3E-E8335393FC5C}"/>
    <dgm:cxn modelId="{0B28628C-A2A1-4C75-8927-E7E057A8BEE6}" type="presOf" srcId="{4D4B1E8A-83BB-4873-BF9E-BF1F184BB3F5}" destId="{A262ABEE-291B-4332-A6EF-B95A61E71BF8}" srcOrd="0" destOrd="0" presId="urn:microsoft.com/office/officeart/2005/8/layout/process5"/>
    <dgm:cxn modelId="{779DF237-5AD9-4D08-B693-F6B5F1453FDD}" type="presOf" srcId="{04BD2717-F73A-4D92-A1BB-1B1363CB7FE7}" destId="{F2E9B42D-5DDF-4F44-8DA8-89EE091114E1}" srcOrd="1" destOrd="0" presId="urn:microsoft.com/office/officeart/2005/8/layout/process5"/>
    <dgm:cxn modelId="{0303B859-AE4C-46D3-BCB3-0383057BA721}" type="presOf" srcId="{5364D0E3-1159-4DD8-9686-2E2A570DAF41}" destId="{0EF6AD6D-D484-4745-AAFB-D418AE1FF210}" srcOrd="0" destOrd="0" presId="urn:microsoft.com/office/officeart/2005/8/layout/process5"/>
    <dgm:cxn modelId="{87967603-E1E1-4FCA-8EDA-1008F1541150}" type="presOf" srcId="{4D4B1E8A-83BB-4873-BF9E-BF1F184BB3F5}" destId="{9168EDEB-5C27-4021-ACBB-893256EF8E21}" srcOrd="1" destOrd="0" presId="urn:microsoft.com/office/officeart/2005/8/layout/process5"/>
    <dgm:cxn modelId="{E5B84862-969A-463B-93DB-E4CCBA6D691D}" type="presOf" srcId="{5BEF8E80-1793-4A38-864D-724B2BF20A5B}" destId="{4056574B-1360-4030-BB7F-CB5D3E244C44}" srcOrd="0" destOrd="0" presId="urn:microsoft.com/office/officeart/2005/8/layout/process5"/>
    <dgm:cxn modelId="{E64A2BFD-ED5C-4B8C-87F9-617B558F2F89}" srcId="{1A326897-7CEB-4804-AC56-9528EE4E8B59}" destId="{E262D361-97E3-4DE8-893A-01A4B5E461EF}" srcOrd="10" destOrd="0" parTransId="{55A6AC5C-1A33-4429-82A9-49C3C6A1EB23}" sibTransId="{0AD3705B-C59C-413B-90BC-18F33D0341FF}"/>
    <dgm:cxn modelId="{2B5C63A5-C9D7-4D31-84FE-FD7427759EF8}" type="presOf" srcId="{E29AF759-2795-40D5-9531-CF49B9354A4E}" destId="{802D72C9-7FCE-4AB9-95AF-5068E904464B}" srcOrd="0" destOrd="0" presId="urn:microsoft.com/office/officeart/2005/8/layout/process5"/>
    <dgm:cxn modelId="{D285005B-3B52-4403-BC90-BEF4120EF309}" type="presOf" srcId="{1A326897-7CEB-4804-AC56-9528EE4E8B59}" destId="{BB22CFB1-994E-4FA5-8858-F7BD0FAA58F1}" srcOrd="0" destOrd="0" presId="urn:microsoft.com/office/officeart/2005/8/layout/process5"/>
    <dgm:cxn modelId="{A44863A8-A19C-4B29-8E47-37CF35E65E3F}" srcId="{1A326897-7CEB-4804-AC56-9528EE4E8B59}" destId="{F1F7FBDE-CB07-4DE1-97D0-DFDF1306516A}" srcOrd="1" destOrd="0" parTransId="{FB0631A2-B264-4467-B364-36BEA762E5ED}" sibTransId="{03FBE58B-2EFE-40E9-87BB-22D9FEF7325E}"/>
    <dgm:cxn modelId="{8317B5C0-C196-4501-B093-917C5EF5188F}" srcId="{1A326897-7CEB-4804-AC56-9528EE4E8B59}" destId="{D9AD9B9C-161B-44BE-8AF8-23D58EB59964}" srcOrd="6" destOrd="0" parTransId="{BE902E9A-7329-4AE6-97BB-A64EE8B73EC2}" sibTransId="{988AFD3A-48D0-456C-AEF8-5C79828977C0}"/>
    <dgm:cxn modelId="{3F8F3E11-82FE-40C3-90FE-26A2ECD31DCA}" type="presOf" srcId="{D24CBB89-8052-409C-A41E-ADEE07401A15}" destId="{F0244B1E-269C-4480-857C-B58D77E00F98}" srcOrd="1" destOrd="0" presId="urn:microsoft.com/office/officeart/2005/8/layout/process5"/>
    <dgm:cxn modelId="{BA989935-FFAA-4228-B469-DDA89962F2BD}" type="presOf" srcId="{D24CBB89-8052-409C-A41E-ADEE07401A15}" destId="{F79F1E6A-1C16-4CED-8845-24736516B5B1}" srcOrd="0" destOrd="0" presId="urn:microsoft.com/office/officeart/2005/8/layout/process5"/>
    <dgm:cxn modelId="{4608773A-D5BD-4684-87B6-85F8B4B30828}" type="presOf" srcId="{8E156ED8-74E3-4033-BD33-5F3E7448974D}" destId="{5C14F384-3C88-4471-97AA-32699FD2E4E9}" srcOrd="1" destOrd="0" presId="urn:microsoft.com/office/officeart/2005/8/layout/process5"/>
    <dgm:cxn modelId="{CF5DEF56-EBED-4683-90FD-1669BD4797A5}" type="presOf" srcId="{E176DD89-96A7-4E35-AD3E-E8335393FC5C}" destId="{29BDC3B1-3C3A-460F-A680-C5CA390F1CDD}" srcOrd="0" destOrd="0" presId="urn:microsoft.com/office/officeart/2005/8/layout/process5"/>
    <dgm:cxn modelId="{4047A9C1-F731-47C2-83AE-08F5DA86B6B4}" type="presOf" srcId="{2142ADE3-E586-42F9-B813-C287ECBFBE4B}" destId="{6CB6EA37-3AA2-448D-BAC5-A8D2B63DA871}" srcOrd="0" destOrd="0" presId="urn:microsoft.com/office/officeart/2005/8/layout/process5"/>
    <dgm:cxn modelId="{83F2EE07-BEE5-44BB-88A7-311FED7CC779}" type="presOf" srcId="{BF71D393-6541-4196-BA18-2051C3C893C1}" destId="{90EF9F8E-DF78-4FE8-A12A-18789720DB2E}" srcOrd="1" destOrd="0" presId="urn:microsoft.com/office/officeart/2005/8/layout/process5"/>
    <dgm:cxn modelId="{0F15FE61-9A93-4BAB-82FB-C488B3EAF7CC}" srcId="{1A326897-7CEB-4804-AC56-9528EE4E8B59}" destId="{F84B7DBD-5626-4647-A3B6-B369B4C9F3FE}" srcOrd="8" destOrd="0" parTransId="{01ADDEB6-CFB7-4A8F-BA92-AD0742E43E28}" sibTransId="{E29AF759-2795-40D5-9531-CF49B9354A4E}"/>
    <dgm:cxn modelId="{84B4A104-2E0A-413F-96E2-72847296CC67}" type="presOf" srcId="{B571A9F4-3E8F-4112-B397-B044E116D8B3}" destId="{D07CA502-052B-456F-B53F-C19E2580F956}" srcOrd="0" destOrd="0" presId="urn:microsoft.com/office/officeart/2005/8/layout/process5"/>
    <dgm:cxn modelId="{6DF5554F-8120-4EE7-B069-BDB82C570697}" srcId="{1A326897-7CEB-4804-AC56-9528EE4E8B59}" destId="{5BEF8E80-1793-4A38-864D-724B2BF20A5B}" srcOrd="4" destOrd="0" parTransId="{3E7F7FE4-5E14-4A8D-9B70-82F7A4CD4AF8}" sibTransId="{4D4B1E8A-83BB-4873-BF9E-BF1F184BB3F5}"/>
    <dgm:cxn modelId="{D5B6F0C2-C7DF-45BF-942B-2EB483E7C5A7}" type="presParOf" srcId="{BB22CFB1-994E-4FA5-8858-F7BD0FAA58F1}" destId="{1FCCF971-09D8-4C65-AF2D-4AC3CE136782}" srcOrd="0" destOrd="0" presId="urn:microsoft.com/office/officeart/2005/8/layout/process5"/>
    <dgm:cxn modelId="{907CAE0E-BCFA-49C9-8AEC-98043EF91388}" type="presParOf" srcId="{BB22CFB1-994E-4FA5-8858-F7BD0FAA58F1}" destId="{8A2D2232-CC17-48A5-8616-9AC9C820AD99}" srcOrd="1" destOrd="0" presId="urn:microsoft.com/office/officeart/2005/8/layout/process5"/>
    <dgm:cxn modelId="{95F23582-BEBF-46C4-A6D0-A245827F176A}" type="presParOf" srcId="{8A2D2232-CC17-48A5-8616-9AC9C820AD99}" destId="{F2E9B42D-5DDF-4F44-8DA8-89EE091114E1}" srcOrd="0" destOrd="0" presId="urn:microsoft.com/office/officeart/2005/8/layout/process5"/>
    <dgm:cxn modelId="{9EDA983C-B919-43C2-AEA1-F06FFD352242}" type="presParOf" srcId="{BB22CFB1-994E-4FA5-8858-F7BD0FAA58F1}" destId="{2B159FF8-197D-4614-BFD9-85969DD9C42A}" srcOrd="2" destOrd="0" presId="urn:microsoft.com/office/officeart/2005/8/layout/process5"/>
    <dgm:cxn modelId="{E66F0643-A4C7-4BD8-A5CC-34C1E7F635A8}" type="presParOf" srcId="{BB22CFB1-994E-4FA5-8858-F7BD0FAA58F1}" destId="{EDC49DF1-285E-4F94-BE47-F522033076CB}" srcOrd="3" destOrd="0" presId="urn:microsoft.com/office/officeart/2005/8/layout/process5"/>
    <dgm:cxn modelId="{9472B51C-DB37-4057-9BDE-9B3F71B07562}" type="presParOf" srcId="{EDC49DF1-285E-4F94-BE47-F522033076CB}" destId="{45DE5862-B953-4014-B81B-BC63E44AA08D}" srcOrd="0" destOrd="0" presId="urn:microsoft.com/office/officeart/2005/8/layout/process5"/>
    <dgm:cxn modelId="{FE2B6AA7-5802-4E24-B124-9472B39106EF}" type="presParOf" srcId="{BB22CFB1-994E-4FA5-8858-F7BD0FAA58F1}" destId="{B8DA77D0-102F-419A-A0EB-C7EF5FECF0A5}" srcOrd="4" destOrd="0" presId="urn:microsoft.com/office/officeart/2005/8/layout/process5"/>
    <dgm:cxn modelId="{0863C47E-6FE1-4EA0-9008-C5CC1D058992}" type="presParOf" srcId="{BB22CFB1-994E-4FA5-8858-F7BD0FAA58F1}" destId="{6CB6EA37-3AA2-448D-BAC5-A8D2B63DA871}" srcOrd="5" destOrd="0" presId="urn:microsoft.com/office/officeart/2005/8/layout/process5"/>
    <dgm:cxn modelId="{307E59FA-341C-4CE9-AC16-E9A48347B8CA}" type="presParOf" srcId="{6CB6EA37-3AA2-448D-BAC5-A8D2B63DA871}" destId="{599EB54C-2585-47B8-AAF9-96627E0218E0}" srcOrd="0" destOrd="0" presId="urn:microsoft.com/office/officeart/2005/8/layout/process5"/>
    <dgm:cxn modelId="{1CF78778-005C-4E06-958B-C65C914423E9}" type="presParOf" srcId="{BB22CFB1-994E-4FA5-8858-F7BD0FAA58F1}" destId="{18FEED9A-7261-4D13-ABA8-CC3CDEA7178E}" srcOrd="6" destOrd="0" presId="urn:microsoft.com/office/officeart/2005/8/layout/process5"/>
    <dgm:cxn modelId="{DCE0D28B-EA3D-482E-9464-AEE662AD817A}" type="presParOf" srcId="{BB22CFB1-994E-4FA5-8858-F7BD0FAA58F1}" destId="{A351A85C-AC8C-440B-8547-C251D520A0D8}" srcOrd="7" destOrd="0" presId="urn:microsoft.com/office/officeart/2005/8/layout/process5"/>
    <dgm:cxn modelId="{507A3CA7-0FCD-4695-819A-5AA3454FCCAE}" type="presParOf" srcId="{A351A85C-AC8C-440B-8547-C251D520A0D8}" destId="{3A9F8FD7-FCF8-4CF3-975A-F5C0D72BC094}" srcOrd="0" destOrd="0" presId="urn:microsoft.com/office/officeart/2005/8/layout/process5"/>
    <dgm:cxn modelId="{491003D0-4C10-4451-B684-F207C3AE482D}" type="presParOf" srcId="{BB22CFB1-994E-4FA5-8858-F7BD0FAA58F1}" destId="{4056574B-1360-4030-BB7F-CB5D3E244C44}" srcOrd="8" destOrd="0" presId="urn:microsoft.com/office/officeart/2005/8/layout/process5"/>
    <dgm:cxn modelId="{C5C6F9BA-2DF0-41B4-A3ED-71430F406ACC}" type="presParOf" srcId="{BB22CFB1-994E-4FA5-8858-F7BD0FAA58F1}" destId="{A262ABEE-291B-4332-A6EF-B95A61E71BF8}" srcOrd="9" destOrd="0" presId="urn:microsoft.com/office/officeart/2005/8/layout/process5"/>
    <dgm:cxn modelId="{9F42D37C-7738-427E-B2EC-B059893B75BB}" type="presParOf" srcId="{A262ABEE-291B-4332-A6EF-B95A61E71BF8}" destId="{9168EDEB-5C27-4021-ACBB-893256EF8E21}" srcOrd="0" destOrd="0" presId="urn:microsoft.com/office/officeart/2005/8/layout/process5"/>
    <dgm:cxn modelId="{A25CBBA3-5AA1-4EF3-AA38-55795240F6AA}" type="presParOf" srcId="{BB22CFB1-994E-4FA5-8858-F7BD0FAA58F1}" destId="{FD66DF65-C14D-44FA-B046-0EB57DE3EB4F}" srcOrd="10" destOrd="0" presId="urn:microsoft.com/office/officeart/2005/8/layout/process5"/>
    <dgm:cxn modelId="{4708C889-3D25-4262-9FDC-490ED6F95733}" type="presParOf" srcId="{BB22CFB1-994E-4FA5-8858-F7BD0FAA58F1}" destId="{E09C3F12-F7C1-4872-89BC-D2978E7C0ACE}" srcOrd="11" destOrd="0" presId="urn:microsoft.com/office/officeart/2005/8/layout/process5"/>
    <dgm:cxn modelId="{76513895-254E-409C-87D0-F593F560BDB2}" type="presParOf" srcId="{E09C3F12-F7C1-4872-89BC-D2978E7C0ACE}" destId="{5C14F384-3C88-4471-97AA-32699FD2E4E9}" srcOrd="0" destOrd="0" presId="urn:microsoft.com/office/officeart/2005/8/layout/process5"/>
    <dgm:cxn modelId="{50B3F368-4395-4889-8BDA-70D8BB09663F}" type="presParOf" srcId="{BB22CFB1-994E-4FA5-8858-F7BD0FAA58F1}" destId="{0ABE59B9-5E36-4299-8730-F83EE7C1639C}" srcOrd="12" destOrd="0" presId="urn:microsoft.com/office/officeart/2005/8/layout/process5"/>
    <dgm:cxn modelId="{9898804F-C8FF-4FC5-9CC0-E513E65D215B}" type="presParOf" srcId="{BB22CFB1-994E-4FA5-8858-F7BD0FAA58F1}" destId="{7E62BCF8-76DC-476B-8D1A-21D3A9DFDA31}" srcOrd="13" destOrd="0" presId="urn:microsoft.com/office/officeart/2005/8/layout/process5"/>
    <dgm:cxn modelId="{EF09F8E3-0C9A-4849-ACC1-56FB17F9AC00}" type="presParOf" srcId="{7E62BCF8-76DC-476B-8D1A-21D3A9DFDA31}" destId="{C74251A8-DDFF-4D26-8A39-224F9D04BC90}" srcOrd="0" destOrd="0" presId="urn:microsoft.com/office/officeart/2005/8/layout/process5"/>
    <dgm:cxn modelId="{8F675E71-4986-410A-835E-415CCEAAB6D5}" type="presParOf" srcId="{BB22CFB1-994E-4FA5-8858-F7BD0FAA58F1}" destId="{66B5FDF5-490A-4C07-88E0-28A9F7F24B1A}" srcOrd="14" destOrd="0" presId="urn:microsoft.com/office/officeart/2005/8/layout/process5"/>
    <dgm:cxn modelId="{D7BDF84D-4514-4F53-A02D-7F27F6746767}" type="presParOf" srcId="{BB22CFB1-994E-4FA5-8858-F7BD0FAA58F1}" destId="{0EF6AD6D-D484-4745-AAFB-D418AE1FF210}" srcOrd="15" destOrd="0" presId="urn:microsoft.com/office/officeart/2005/8/layout/process5"/>
    <dgm:cxn modelId="{E4F21D2A-8EDE-4E84-8473-8EA5432C9514}" type="presParOf" srcId="{0EF6AD6D-D484-4745-AAFB-D418AE1FF210}" destId="{BCC79A2B-8E66-4239-905A-B867B3B9D9AC}" srcOrd="0" destOrd="0" presId="urn:microsoft.com/office/officeart/2005/8/layout/process5"/>
    <dgm:cxn modelId="{FB927EDE-5A5C-4AC2-904E-87ED2AD19F0B}" type="presParOf" srcId="{BB22CFB1-994E-4FA5-8858-F7BD0FAA58F1}" destId="{454E5565-4B39-4B86-BBC8-F5E17538ED5F}" srcOrd="16" destOrd="0" presId="urn:microsoft.com/office/officeart/2005/8/layout/process5"/>
    <dgm:cxn modelId="{65AE47D9-F7FA-4A04-9315-B28BDC7B556D}" type="presParOf" srcId="{BB22CFB1-994E-4FA5-8858-F7BD0FAA58F1}" destId="{802D72C9-7FCE-4AB9-95AF-5068E904464B}" srcOrd="17" destOrd="0" presId="urn:microsoft.com/office/officeart/2005/8/layout/process5"/>
    <dgm:cxn modelId="{AD61DC77-FB43-44EF-8B60-DF7B30E9418D}" type="presParOf" srcId="{802D72C9-7FCE-4AB9-95AF-5068E904464B}" destId="{60851F56-6A91-42FA-9F50-A307A63404DF}" srcOrd="0" destOrd="0" presId="urn:microsoft.com/office/officeart/2005/8/layout/process5"/>
    <dgm:cxn modelId="{E164F955-C1D3-452F-8016-0217EE2270E7}" type="presParOf" srcId="{BB22CFB1-994E-4FA5-8858-F7BD0FAA58F1}" destId="{39BD7EA2-9B67-4025-8517-06AFEA7F3F3C}" srcOrd="18" destOrd="0" presId="urn:microsoft.com/office/officeart/2005/8/layout/process5"/>
    <dgm:cxn modelId="{610E8196-ECBF-48A5-9DF4-E6D545F5AAA9}" type="presParOf" srcId="{BB22CFB1-994E-4FA5-8858-F7BD0FAA58F1}" destId="{FA884851-E287-4179-82A5-9E463B63261A}" srcOrd="19" destOrd="0" presId="urn:microsoft.com/office/officeart/2005/8/layout/process5"/>
    <dgm:cxn modelId="{EEC40CE2-C518-4546-AD33-4EAE480577F3}" type="presParOf" srcId="{FA884851-E287-4179-82A5-9E463B63261A}" destId="{90EF9F8E-DF78-4FE8-A12A-18789720DB2E}" srcOrd="0" destOrd="0" presId="urn:microsoft.com/office/officeart/2005/8/layout/process5"/>
    <dgm:cxn modelId="{AB694DED-848B-4CC7-B1E7-F914E1A45196}" type="presParOf" srcId="{BB22CFB1-994E-4FA5-8858-F7BD0FAA58F1}" destId="{176D150D-1508-4C6B-923C-85F7DDFD408B}" srcOrd="20" destOrd="0" presId="urn:microsoft.com/office/officeart/2005/8/layout/process5"/>
    <dgm:cxn modelId="{BC38AEE0-7C8B-40CD-A710-2CBF0DDFB566}" type="presParOf" srcId="{BB22CFB1-994E-4FA5-8858-F7BD0FAA58F1}" destId="{17E59EBC-7CF7-4128-886F-A01ABF47B50B}" srcOrd="21" destOrd="0" presId="urn:microsoft.com/office/officeart/2005/8/layout/process5"/>
    <dgm:cxn modelId="{4D6C2372-89C4-4DB2-8B1F-1412FCC81CE7}" type="presParOf" srcId="{17E59EBC-7CF7-4128-886F-A01ABF47B50B}" destId="{E9A2F6E1-232C-47E1-8FE8-59DE53B4127C}" srcOrd="0" destOrd="0" presId="urn:microsoft.com/office/officeart/2005/8/layout/process5"/>
    <dgm:cxn modelId="{3373033F-4322-4CE4-B209-F674156E8AA5}" type="presParOf" srcId="{BB22CFB1-994E-4FA5-8858-F7BD0FAA58F1}" destId="{D07CA502-052B-456F-B53F-C19E2580F956}" srcOrd="22" destOrd="0" presId="urn:microsoft.com/office/officeart/2005/8/layout/process5"/>
    <dgm:cxn modelId="{448002C9-46C6-44B3-9E4D-D0D441A5C3B6}" type="presParOf" srcId="{BB22CFB1-994E-4FA5-8858-F7BD0FAA58F1}" destId="{F79F1E6A-1C16-4CED-8845-24736516B5B1}" srcOrd="23" destOrd="0" presId="urn:microsoft.com/office/officeart/2005/8/layout/process5"/>
    <dgm:cxn modelId="{1B9D82CF-228E-4338-BA15-004C3AE1CA34}" type="presParOf" srcId="{F79F1E6A-1C16-4CED-8845-24736516B5B1}" destId="{F0244B1E-269C-4480-857C-B58D77E00F98}" srcOrd="0" destOrd="0" presId="urn:microsoft.com/office/officeart/2005/8/layout/process5"/>
    <dgm:cxn modelId="{82A9D6C8-4660-4ABF-A61F-05B7E4FF98ED}" type="presParOf" srcId="{BB22CFB1-994E-4FA5-8858-F7BD0FAA58F1}" destId="{DADE7F08-744D-4937-8034-B53DA6E96290}" srcOrd="24" destOrd="0" presId="urn:microsoft.com/office/officeart/2005/8/layout/process5"/>
    <dgm:cxn modelId="{70F037C9-D562-4388-A2E0-9282117531F6}" type="presParOf" srcId="{BB22CFB1-994E-4FA5-8858-F7BD0FAA58F1}" destId="{29BDC3B1-3C3A-460F-A680-C5CA390F1CDD}" srcOrd="25" destOrd="0" presId="urn:microsoft.com/office/officeart/2005/8/layout/process5"/>
    <dgm:cxn modelId="{102695B9-07B9-41C4-B81D-749E09E62226}" type="presParOf" srcId="{29BDC3B1-3C3A-460F-A680-C5CA390F1CDD}" destId="{E6A91A7D-95CE-46DE-A8FF-31AAD0718170}" srcOrd="0" destOrd="0" presId="urn:microsoft.com/office/officeart/2005/8/layout/process5"/>
    <dgm:cxn modelId="{B7F19652-B624-41BF-890B-D4C91AD74CE2}" type="presParOf" srcId="{BB22CFB1-994E-4FA5-8858-F7BD0FAA58F1}" destId="{F98B755D-CC32-4CEF-93AD-AC12C2896C10}" srcOrd="26" destOrd="0" presId="urn:microsoft.com/office/officeart/2005/8/layout/process5"/>
    <dgm:cxn modelId="{4EFE9884-5356-425C-A8C0-3A8A77DFE8B2}" type="presParOf" srcId="{BB22CFB1-994E-4FA5-8858-F7BD0FAA58F1}" destId="{D274B305-8C66-4826-8C29-23D6D325421D}" srcOrd="27" destOrd="0" presId="urn:microsoft.com/office/officeart/2005/8/layout/process5"/>
    <dgm:cxn modelId="{314F21D3-23AE-414F-BFA9-AF55D5B2E138}" type="presParOf" srcId="{D274B305-8C66-4826-8C29-23D6D325421D}" destId="{8B21A0C2-A1E4-422A-A95A-BC16610718FA}" srcOrd="0" destOrd="0" presId="urn:microsoft.com/office/officeart/2005/8/layout/process5"/>
    <dgm:cxn modelId="{80C72059-43D5-44AB-BD06-0FE0940AE444}" type="presParOf" srcId="{BB22CFB1-994E-4FA5-8858-F7BD0FAA58F1}" destId="{BCE2A4C5-CAFB-4B0F-8731-B6F387CD1CDB}" srcOrd="2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A0BF0CC-AFE6-413A-8A1A-505EF7150417}" type="doc">
      <dgm:prSet loTypeId="urn:microsoft.com/office/officeart/2005/8/layout/chevron2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65AF27A2-4B9F-4239-9846-4134924EE728}">
      <dgm:prSet phldrT="[Текст]"/>
      <dgm:spPr/>
      <dgm:t>
        <a:bodyPr/>
        <a:lstStyle/>
        <a:p>
          <a:r>
            <a:rPr lang="ru-RU" dirty="0" smtClean="0"/>
            <a:t>Содержание образования</a:t>
          </a:r>
          <a:endParaRPr lang="en-US" dirty="0"/>
        </a:p>
      </dgm:t>
    </dgm:pt>
    <dgm:pt modelId="{4B3944E2-5998-42E3-A613-32A4F322B8CF}" type="parTrans" cxnId="{BA91BD58-C266-4DF9-9F83-837D2F289D04}">
      <dgm:prSet/>
      <dgm:spPr/>
      <dgm:t>
        <a:bodyPr/>
        <a:lstStyle/>
        <a:p>
          <a:endParaRPr lang="en-US"/>
        </a:p>
      </dgm:t>
    </dgm:pt>
    <dgm:pt modelId="{97608A4A-9261-4A5C-A897-857BC3EAE7DF}" type="sibTrans" cxnId="{BA91BD58-C266-4DF9-9F83-837D2F289D04}">
      <dgm:prSet/>
      <dgm:spPr/>
      <dgm:t>
        <a:bodyPr/>
        <a:lstStyle/>
        <a:p>
          <a:endParaRPr lang="en-US"/>
        </a:p>
      </dgm:t>
    </dgm:pt>
    <dgm:pt modelId="{420C2FA5-9CA5-46E1-99E4-D86413984510}">
      <dgm:prSet phldrT="[Текст]"/>
      <dgm:spPr/>
      <dgm:t>
        <a:bodyPr/>
        <a:lstStyle/>
        <a:p>
          <a:r>
            <a:rPr lang="ru-RU" dirty="0" smtClean="0"/>
            <a:t>Разработка  и анализ ОП</a:t>
          </a:r>
          <a:endParaRPr lang="en-US" dirty="0"/>
        </a:p>
      </dgm:t>
    </dgm:pt>
    <dgm:pt modelId="{C5BB1DFF-2C31-454D-B7E7-3FA018C89AC1}" type="parTrans" cxnId="{0C8F225D-7C89-4B35-BB80-39687C1031D0}">
      <dgm:prSet/>
      <dgm:spPr/>
      <dgm:t>
        <a:bodyPr/>
        <a:lstStyle/>
        <a:p>
          <a:endParaRPr lang="en-US"/>
        </a:p>
      </dgm:t>
    </dgm:pt>
    <dgm:pt modelId="{E79E53C8-1543-4CCE-A224-4F49724EFEEB}" type="sibTrans" cxnId="{0C8F225D-7C89-4B35-BB80-39687C1031D0}">
      <dgm:prSet/>
      <dgm:spPr/>
      <dgm:t>
        <a:bodyPr/>
        <a:lstStyle/>
        <a:p>
          <a:endParaRPr lang="en-US"/>
        </a:p>
      </dgm:t>
    </dgm:pt>
    <dgm:pt modelId="{F2C3305C-7FC4-4A3C-B8B8-C48E4EE68147}">
      <dgm:prSet phldrT="[Текст]"/>
      <dgm:spPr>
        <a:solidFill>
          <a:srgbClr val="C80E2D"/>
        </a:solidFill>
      </dgm:spPr>
      <dgm:t>
        <a:bodyPr/>
        <a:lstStyle/>
        <a:p>
          <a:r>
            <a:rPr lang="ru-RU" dirty="0" smtClean="0"/>
            <a:t>Работодатели</a:t>
          </a:r>
          <a:endParaRPr lang="en-US" dirty="0"/>
        </a:p>
      </dgm:t>
    </dgm:pt>
    <dgm:pt modelId="{263855D5-A901-404D-A8CF-9989579B9A56}" type="parTrans" cxnId="{4F96BFA3-8FFD-4E2E-A3AB-0676E81D1AB9}">
      <dgm:prSet/>
      <dgm:spPr/>
      <dgm:t>
        <a:bodyPr/>
        <a:lstStyle/>
        <a:p>
          <a:endParaRPr lang="en-US"/>
        </a:p>
      </dgm:t>
    </dgm:pt>
    <dgm:pt modelId="{5A637A43-339E-45E7-8839-14847412B491}" type="sibTrans" cxnId="{4F96BFA3-8FFD-4E2E-A3AB-0676E81D1AB9}">
      <dgm:prSet/>
      <dgm:spPr/>
      <dgm:t>
        <a:bodyPr/>
        <a:lstStyle/>
        <a:p>
          <a:endParaRPr lang="en-US"/>
        </a:p>
      </dgm:t>
    </dgm:pt>
    <dgm:pt modelId="{27893813-7B11-4E07-8B08-BE7A627F5B97}">
      <dgm:prSet phldrT="[Текст]"/>
      <dgm:spPr>
        <a:solidFill>
          <a:srgbClr val="A2344E"/>
        </a:solidFill>
      </dgm:spPr>
      <dgm:t>
        <a:bodyPr/>
        <a:lstStyle/>
        <a:p>
          <a:r>
            <a:rPr lang="ru-RU" dirty="0" smtClean="0"/>
            <a:t>Исследования</a:t>
          </a:r>
          <a:endParaRPr lang="en-US" dirty="0"/>
        </a:p>
      </dgm:t>
    </dgm:pt>
    <dgm:pt modelId="{6357E8E5-E0BF-4BB0-8BCB-BF8AE1462348}" type="parTrans" cxnId="{AE6A2D4C-2EDA-4273-A251-DB498AE6676E}">
      <dgm:prSet/>
      <dgm:spPr/>
      <dgm:t>
        <a:bodyPr/>
        <a:lstStyle/>
        <a:p>
          <a:endParaRPr lang="en-US"/>
        </a:p>
      </dgm:t>
    </dgm:pt>
    <dgm:pt modelId="{40C6B7FD-8C8A-4FF5-832B-6D2F1D01F7A2}" type="sibTrans" cxnId="{AE6A2D4C-2EDA-4273-A251-DB498AE6676E}">
      <dgm:prSet/>
      <dgm:spPr/>
      <dgm:t>
        <a:bodyPr/>
        <a:lstStyle/>
        <a:p>
          <a:endParaRPr lang="en-US"/>
        </a:p>
      </dgm:t>
    </dgm:pt>
    <dgm:pt modelId="{940505B9-B129-40D7-91F7-C64A2B4A3647}">
      <dgm:prSet phldrT="[Текст]"/>
      <dgm:spPr/>
      <dgm:t>
        <a:bodyPr/>
        <a:lstStyle/>
        <a:p>
          <a:r>
            <a:rPr lang="ru-RU" dirty="0" smtClean="0"/>
            <a:t>Институциональные исследования</a:t>
          </a:r>
          <a:endParaRPr lang="en-US" dirty="0"/>
        </a:p>
      </dgm:t>
    </dgm:pt>
    <dgm:pt modelId="{5BEE6DF3-D044-48FD-9D54-24BCE3A88BB3}" type="parTrans" cxnId="{83AC46A3-A2B0-4710-9C7F-9E4FFAB6E173}">
      <dgm:prSet/>
      <dgm:spPr/>
      <dgm:t>
        <a:bodyPr/>
        <a:lstStyle/>
        <a:p>
          <a:endParaRPr lang="en-US"/>
        </a:p>
      </dgm:t>
    </dgm:pt>
    <dgm:pt modelId="{CD28D956-BE6D-4A11-A958-DAC3457C7EAC}" type="sibTrans" cxnId="{83AC46A3-A2B0-4710-9C7F-9E4FFAB6E173}">
      <dgm:prSet/>
      <dgm:spPr/>
      <dgm:t>
        <a:bodyPr/>
        <a:lstStyle/>
        <a:p>
          <a:endParaRPr lang="en-US"/>
        </a:p>
      </dgm:t>
    </dgm:pt>
    <dgm:pt modelId="{10822B06-C5D0-454C-9596-AEC9D893F0BF}">
      <dgm:prSet phldrT="[Текст]"/>
      <dgm:spPr/>
      <dgm:t>
        <a:bodyPr/>
        <a:lstStyle/>
        <a:p>
          <a:r>
            <a:rPr lang="ru-RU" dirty="0" smtClean="0"/>
            <a:t>Разработка методик преподавания</a:t>
          </a:r>
          <a:endParaRPr lang="en-US" dirty="0"/>
        </a:p>
      </dgm:t>
    </dgm:pt>
    <dgm:pt modelId="{37381460-3EFB-4464-AAAC-08B83CC7B56B}" type="parTrans" cxnId="{FEA4EB6C-59B0-48F0-A66D-8C6565A4CF16}">
      <dgm:prSet/>
      <dgm:spPr/>
      <dgm:t>
        <a:bodyPr/>
        <a:lstStyle/>
        <a:p>
          <a:endParaRPr lang="en-US"/>
        </a:p>
      </dgm:t>
    </dgm:pt>
    <dgm:pt modelId="{3539CB38-8F52-482D-9446-8BDCBA17E9F1}" type="sibTrans" cxnId="{FEA4EB6C-59B0-48F0-A66D-8C6565A4CF16}">
      <dgm:prSet/>
      <dgm:spPr/>
      <dgm:t>
        <a:bodyPr/>
        <a:lstStyle/>
        <a:p>
          <a:endParaRPr lang="en-US"/>
        </a:p>
      </dgm:t>
    </dgm:pt>
    <dgm:pt modelId="{D8DB4D28-20D6-4E45-8555-2E073EEB8A44}">
      <dgm:prSet phldrT="[Текст]"/>
      <dgm:spPr/>
      <dgm:t>
        <a:bodyPr/>
        <a:lstStyle/>
        <a:p>
          <a:r>
            <a:rPr lang="ru-RU" dirty="0" smtClean="0"/>
            <a:t>Анализ достаточности учебной литературы</a:t>
          </a:r>
          <a:endParaRPr lang="en-US" dirty="0"/>
        </a:p>
      </dgm:t>
    </dgm:pt>
    <dgm:pt modelId="{AC2AB086-3A0A-4C2E-98C6-78073C3DE6BE}" type="parTrans" cxnId="{2011E97F-D391-4FBF-970D-2068934CBB3E}">
      <dgm:prSet/>
      <dgm:spPr/>
      <dgm:t>
        <a:bodyPr/>
        <a:lstStyle/>
        <a:p>
          <a:endParaRPr lang="en-US"/>
        </a:p>
      </dgm:t>
    </dgm:pt>
    <dgm:pt modelId="{FF82B5E0-3D2D-400E-B1B6-125532C577F1}" type="sibTrans" cxnId="{2011E97F-D391-4FBF-970D-2068934CBB3E}">
      <dgm:prSet/>
      <dgm:spPr/>
      <dgm:t>
        <a:bodyPr/>
        <a:lstStyle/>
        <a:p>
          <a:endParaRPr lang="en-US"/>
        </a:p>
      </dgm:t>
    </dgm:pt>
    <dgm:pt modelId="{EB12AED5-B26C-47DE-8440-11EF24912D17}">
      <dgm:prSet phldrT="[Текст]"/>
      <dgm:spPr/>
      <dgm:t>
        <a:bodyPr/>
        <a:lstStyle/>
        <a:p>
          <a:r>
            <a:rPr lang="ru-RU" dirty="0" smtClean="0"/>
            <a:t>Анализ процессов</a:t>
          </a:r>
          <a:endParaRPr lang="en-US" dirty="0"/>
        </a:p>
      </dgm:t>
    </dgm:pt>
    <dgm:pt modelId="{157CCF9F-942B-4C86-9B6F-DC86DC369B32}" type="parTrans" cxnId="{F6866FBD-29B5-43C6-9514-4A550F686323}">
      <dgm:prSet/>
      <dgm:spPr/>
      <dgm:t>
        <a:bodyPr/>
        <a:lstStyle/>
        <a:p>
          <a:endParaRPr lang="en-US"/>
        </a:p>
      </dgm:t>
    </dgm:pt>
    <dgm:pt modelId="{6FB7F59E-D801-4B2E-A9EC-6716EB4F77CE}" type="sibTrans" cxnId="{F6866FBD-29B5-43C6-9514-4A550F686323}">
      <dgm:prSet/>
      <dgm:spPr/>
      <dgm:t>
        <a:bodyPr/>
        <a:lstStyle/>
        <a:p>
          <a:endParaRPr lang="en-US"/>
        </a:p>
      </dgm:t>
    </dgm:pt>
    <dgm:pt modelId="{7ADC4BF7-E75C-4157-8B37-57974805E517}">
      <dgm:prSet phldrT="[Текст]"/>
      <dgm:spPr/>
      <dgm:t>
        <a:bodyPr/>
        <a:lstStyle/>
        <a:p>
          <a:r>
            <a:rPr lang="ru-RU" dirty="0" smtClean="0"/>
            <a:t>Анализ тенденций рынка труда</a:t>
          </a:r>
          <a:endParaRPr lang="en-US" dirty="0"/>
        </a:p>
      </dgm:t>
    </dgm:pt>
    <dgm:pt modelId="{6B740134-F0F5-4198-9C15-74DF8D75B8DE}" type="parTrans" cxnId="{796CB5AF-438E-4722-9700-583D1791457A}">
      <dgm:prSet/>
      <dgm:spPr/>
      <dgm:t>
        <a:bodyPr/>
        <a:lstStyle/>
        <a:p>
          <a:endParaRPr lang="en-US"/>
        </a:p>
      </dgm:t>
    </dgm:pt>
    <dgm:pt modelId="{73C210B8-529E-4A9B-8479-77B61FAF1EDA}" type="sibTrans" cxnId="{796CB5AF-438E-4722-9700-583D1791457A}">
      <dgm:prSet/>
      <dgm:spPr/>
      <dgm:t>
        <a:bodyPr/>
        <a:lstStyle/>
        <a:p>
          <a:endParaRPr lang="en-US"/>
        </a:p>
      </dgm:t>
    </dgm:pt>
    <dgm:pt modelId="{291F45E4-8397-457B-B8CD-F240C72FD2BA}">
      <dgm:prSet/>
      <dgm:spPr/>
      <dgm:t>
        <a:bodyPr/>
        <a:lstStyle/>
        <a:p>
          <a:r>
            <a:rPr lang="ru-RU" dirty="0" smtClean="0"/>
            <a:t>Модель выпускника</a:t>
          </a:r>
          <a:endParaRPr lang="en-US" dirty="0"/>
        </a:p>
      </dgm:t>
    </dgm:pt>
    <dgm:pt modelId="{BE0AEE42-2321-4BA5-B3E6-1EE1BF34814D}" type="parTrans" cxnId="{84C04E42-14F6-4FD3-9557-E7577DABAA92}">
      <dgm:prSet/>
      <dgm:spPr/>
      <dgm:t>
        <a:bodyPr/>
        <a:lstStyle/>
        <a:p>
          <a:endParaRPr lang="en-US"/>
        </a:p>
      </dgm:t>
    </dgm:pt>
    <dgm:pt modelId="{4A9A29F3-A1A2-4B8E-B448-6B8C344DC5C9}" type="sibTrans" cxnId="{84C04E42-14F6-4FD3-9557-E7577DABAA92}">
      <dgm:prSet/>
      <dgm:spPr/>
      <dgm:t>
        <a:bodyPr/>
        <a:lstStyle/>
        <a:p>
          <a:endParaRPr lang="en-US"/>
        </a:p>
      </dgm:t>
    </dgm:pt>
    <dgm:pt modelId="{33F39D2A-7F05-44F0-9BBF-F2B9BCA3177A}">
      <dgm:prSet/>
      <dgm:spPr/>
      <dgm:t>
        <a:bodyPr/>
        <a:lstStyle/>
        <a:p>
          <a:r>
            <a:rPr lang="ru-RU" smtClean="0"/>
            <a:t>Результаты обучения</a:t>
          </a:r>
          <a:endParaRPr lang="en-US"/>
        </a:p>
      </dgm:t>
    </dgm:pt>
    <dgm:pt modelId="{03DE16A2-DDE2-47B9-A5A3-C74EEB9896D4}" type="parTrans" cxnId="{DFD7F973-AB4C-4EC2-9BD4-B78A7256B96E}">
      <dgm:prSet/>
      <dgm:spPr/>
      <dgm:t>
        <a:bodyPr/>
        <a:lstStyle/>
        <a:p>
          <a:endParaRPr lang="en-US"/>
        </a:p>
      </dgm:t>
    </dgm:pt>
    <dgm:pt modelId="{C2170816-13B8-428E-9634-22104A05B922}" type="sibTrans" cxnId="{DFD7F973-AB4C-4EC2-9BD4-B78A7256B96E}">
      <dgm:prSet/>
      <dgm:spPr/>
      <dgm:t>
        <a:bodyPr/>
        <a:lstStyle/>
        <a:p>
          <a:endParaRPr lang="en-US"/>
        </a:p>
      </dgm:t>
    </dgm:pt>
    <dgm:pt modelId="{FA9CCB5D-B127-4E2B-B3A2-2E3A9746859E}">
      <dgm:prSet/>
      <dgm:spPr/>
      <dgm:t>
        <a:bodyPr/>
        <a:lstStyle/>
        <a:p>
          <a:r>
            <a:rPr lang="ru-RU" smtClean="0"/>
            <a:t>Разработка и проведение цикла встреч с практиками</a:t>
          </a:r>
          <a:endParaRPr lang="en-US"/>
        </a:p>
      </dgm:t>
    </dgm:pt>
    <dgm:pt modelId="{AF1DB8E0-A0BE-41C3-ABE8-C34E8259EEC9}" type="parTrans" cxnId="{A7388582-65B1-4F91-A3D5-A689B5A47C16}">
      <dgm:prSet/>
      <dgm:spPr/>
      <dgm:t>
        <a:bodyPr/>
        <a:lstStyle/>
        <a:p>
          <a:endParaRPr lang="en-US"/>
        </a:p>
      </dgm:t>
    </dgm:pt>
    <dgm:pt modelId="{55DD3389-F4B5-4425-8690-A618C3ADC8AE}" type="sibTrans" cxnId="{A7388582-65B1-4F91-A3D5-A689B5A47C16}">
      <dgm:prSet/>
      <dgm:spPr/>
      <dgm:t>
        <a:bodyPr/>
        <a:lstStyle/>
        <a:p>
          <a:endParaRPr lang="en-US"/>
        </a:p>
      </dgm:t>
    </dgm:pt>
    <dgm:pt modelId="{971903DF-860F-4B03-8DF2-6DA0F84E2483}" type="pres">
      <dgm:prSet presAssocID="{BA0BF0CC-AFE6-413A-8A1A-505EF715041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A0090EA-4D8D-4DD7-9E5E-9D4096037839}" type="pres">
      <dgm:prSet presAssocID="{65AF27A2-4B9F-4239-9846-4134924EE728}" presName="composite" presStyleCnt="0"/>
      <dgm:spPr/>
      <dgm:t>
        <a:bodyPr/>
        <a:lstStyle/>
        <a:p>
          <a:endParaRPr lang="ru-RU"/>
        </a:p>
      </dgm:t>
    </dgm:pt>
    <dgm:pt modelId="{B986EDF2-3686-421A-AE7A-03E819959FCC}" type="pres">
      <dgm:prSet presAssocID="{65AF27A2-4B9F-4239-9846-4134924EE728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FC8E80-B373-47AE-BD92-AE29D2DD6255}" type="pres">
      <dgm:prSet presAssocID="{65AF27A2-4B9F-4239-9846-4134924EE728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D65AD7-CAEC-4D39-8272-4E07AB655322}" type="pres">
      <dgm:prSet presAssocID="{97608A4A-9261-4A5C-A897-857BC3EAE7DF}" presName="sp" presStyleCnt="0"/>
      <dgm:spPr/>
      <dgm:t>
        <a:bodyPr/>
        <a:lstStyle/>
        <a:p>
          <a:endParaRPr lang="ru-RU"/>
        </a:p>
      </dgm:t>
    </dgm:pt>
    <dgm:pt modelId="{3826424F-14CD-4C17-9DAD-7B844539C7B4}" type="pres">
      <dgm:prSet presAssocID="{F2C3305C-7FC4-4A3C-B8B8-C48E4EE68147}" presName="composite" presStyleCnt="0"/>
      <dgm:spPr/>
      <dgm:t>
        <a:bodyPr/>
        <a:lstStyle/>
        <a:p>
          <a:endParaRPr lang="ru-RU"/>
        </a:p>
      </dgm:t>
    </dgm:pt>
    <dgm:pt modelId="{4465D4B3-60EB-4438-B5D9-BCF0825C4BB4}" type="pres">
      <dgm:prSet presAssocID="{F2C3305C-7FC4-4A3C-B8B8-C48E4EE68147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999EE7-BB5F-4E71-9100-D1DDFEB27805}" type="pres">
      <dgm:prSet presAssocID="{F2C3305C-7FC4-4A3C-B8B8-C48E4EE68147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B11D7C-41D4-4BA6-8C08-C8AC32EA90E8}" type="pres">
      <dgm:prSet presAssocID="{5A637A43-339E-45E7-8839-14847412B491}" presName="sp" presStyleCnt="0"/>
      <dgm:spPr/>
      <dgm:t>
        <a:bodyPr/>
        <a:lstStyle/>
        <a:p>
          <a:endParaRPr lang="ru-RU"/>
        </a:p>
      </dgm:t>
    </dgm:pt>
    <dgm:pt modelId="{7F01CE68-19C1-485D-8AE7-4583E9AA27DF}" type="pres">
      <dgm:prSet presAssocID="{27893813-7B11-4E07-8B08-BE7A627F5B97}" presName="composite" presStyleCnt="0"/>
      <dgm:spPr/>
      <dgm:t>
        <a:bodyPr/>
        <a:lstStyle/>
        <a:p>
          <a:endParaRPr lang="ru-RU"/>
        </a:p>
      </dgm:t>
    </dgm:pt>
    <dgm:pt modelId="{E2BD77D3-26DC-4C82-8308-6C972CB0DC2C}" type="pres">
      <dgm:prSet presAssocID="{27893813-7B11-4E07-8B08-BE7A627F5B97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14E3F3-548E-4669-B4A3-C022971C3E4A}" type="pres">
      <dgm:prSet presAssocID="{27893813-7B11-4E07-8B08-BE7A627F5B97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9E82DE5-ABB2-4DAE-9440-DC5A0929BA25}" type="presOf" srcId="{FA9CCB5D-B127-4E2B-B3A2-2E3A9746859E}" destId="{71999EE7-BB5F-4E71-9100-D1DDFEB27805}" srcOrd="0" destOrd="2" presId="urn:microsoft.com/office/officeart/2005/8/layout/chevron2"/>
    <dgm:cxn modelId="{BA91BD58-C266-4DF9-9F83-837D2F289D04}" srcId="{BA0BF0CC-AFE6-413A-8A1A-505EF7150417}" destId="{65AF27A2-4B9F-4239-9846-4134924EE728}" srcOrd="0" destOrd="0" parTransId="{4B3944E2-5998-42E3-A613-32A4F322B8CF}" sibTransId="{97608A4A-9261-4A5C-A897-857BC3EAE7DF}"/>
    <dgm:cxn modelId="{83AC46A3-A2B0-4710-9C7F-9E4FFAB6E173}" srcId="{27893813-7B11-4E07-8B08-BE7A627F5B97}" destId="{940505B9-B129-40D7-91F7-C64A2B4A3647}" srcOrd="0" destOrd="0" parTransId="{5BEE6DF3-D044-48FD-9D54-24BCE3A88BB3}" sibTransId="{CD28D956-BE6D-4A11-A958-DAC3457C7EAC}"/>
    <dgm:cxn modelId="{4F96BFA3-8FFD-4E2E-A3AB-0676E81D1AB9}" srcId="{BA0BF0CC-AFE6-413A-8A1A-505EF7150417}" destId="{F2C3305C-7FC4-4A3C-B8B8-C48E4EE68147}" srcOrd="1" destOrd="0" parTransId="{263855D5-A901-404D-A8CF-9989579B9A56}" sibTransId="{5A637A43-339E-45E7-8839-14847412B491}"/>
    <dgm:cxn modelId="{AE6A2D4C-2EDA-4273-A251-DB498AE6676E}" srcId="{BA0BF0CC-AFE6-413A-8A1A-505EF7150417}" destId="{27893813-7B11-4E07-8B08-BE7A627F5B97}" srcOrd="2" destOrd="0" parTransId="{6357E8E5-E0BF-4BB0-8BCB-BF8AE1462348}" sibTransId="{40C6B7FD-8C8A-4FF5-832B-6D2F1D01F7A2}"/>
    <dgm:cxn modelId="{796CB5AF-438E-4722-9700-583D1791457A}" srcId="{27893813-7B11-4E07-8B08-BE7A627F5B97}" destId="{7ADC4BF7-E75C-4157-8B37-57974805E517}" srcOrd="3" destOrd="0" parTransId="{6B740134-F0F5-4198-9C15-74DF8D75B8DE}" sibTransId="{73C210B8-529E-4A9B-8479-77B61FAF1EDA}"/>
    <dgm:cxn modelId="{84C04E42-14F6-4FD3-9557-E7577DABAA92}" srcId="{F2C3305C-7FC4-4A3C-B8B8-C48E4EE68147}" destId="{291F45E4-8397-457B-B8CD-F240C72FD2BA}" srcOrd="0" destOrd="0" parTransId="{BE0AEE42-2321-4BA5-B3E6-1EE1BF34814D}" sibTransId="{4A9A29F3-A1A2-4B8E-B448-6B8C344DC5C9}"/>
    <dgm:cxn modelId="{CA3704A8-FED4-44F9-9B28-4515B50FB6AF}" type="presOf" srcId="{291F45E4-8397-457B-B8CD-F240C72FD2BA}" destId="{71999EE7-BB5F-4E71-9100-D1DDFEB27805}" srcOrd="0" destOrd="0" presId="urn:microsoft.com/office/officeart/2005/8/layout/chevron2"/>
    <dgm:cxn modelId="{499D6B61-6339-4AB0-99D1-60E996661C23}" type="presOf" srcId="{D8DB4D28-20D6-4E45-8555-2E073EEB8A44}" destId="{19FC8E80-B373-47AE-BD92-AE29D2DD6255}" srcOrd="0" destOrd="1" presId="urn:microsoft.com/office/officeart/2005/8/layout/chevron2"/>
    <dgm:cxn modelId="{B96C1375-9A8D-4EBF-8C86-74DE536913C0}" type="presOf" srcId="{940505B9-B129-40D7-91F7-C64A2B4A3647}" destId="{1614E3F3-548E-4669-B4A3-C022971C3E4A}" srcOrd="0" destOrd="0" presId="urn:microsoft.com/office/officeart/2005/8/layout/chevron2"/>
    <dgm:cxn modelId="{7714AC4C-BA0E-45C3-8F5B-D074B73E4254}" type="presOf" srcId="{BA0BF0CC-AFE6-413A-8A1A-505EF7150417}" destId="{971903DF-860F-4B03-8DF2-6DA0F84E2483}" srcOrd="0" destOrd="0" presId="urn:microsoft.com/office/officeart/2005/8/layout/chevron2"/>
    <dgm:cxn modelId="{BFC0BE58-04BD-46FF-AD58-882C8BED5F5E}" type="presOf" srcId="{33F39D2A-7F05-44F0-9BBF-F2B9BCA3177A}" destId="{71999EE7-BB5F-4E71-9100-D1DDFEB27805}" srcOrd="0" destOrd="1" presId="urn:microsoft.com/office/officeart/2005/8/layout/chevron2"/>
    <dgm:cxn modelId="{FEA4EB6C-59B0-48F0-A66D-8C6565A4CF16}" srcId="{27893813-7B11-4E07-8B08-BE7A627F5B97}" destId="{10822B06-C5D0-454C-9596-AEC9D893F0BF}" srcOrd="2" destOrd="0" parTransId="{37381460-3EFB-4464-AAAC-08B83CC7B56B}" sibTransId="{3539CB38-8F52-482D-9446-8BDCBA17E9F1}"/>
    <dgm:cxn modelId="{DFD7F973-AB4C-4EC2-9BD4-B78A7256B96E}" srcId="{F2C3305C-7FC4-4A3C-B8B8-C48E4EE68147}" destId="{33F39D2A-7F05-44F0-9BBF-F2B9BCA3177A}" srcOrd="1" destOrd="0" parTransId="{03DE16A2-DDE2-47B9-A5A3-C74EEB9896D4}" sibTransId="{C2170816-13B8-428E-9634-22104A05B922}"/>
    <dgm:cxn modelId="{0C8F225D-7C89-4B35-BB80-39687C1031D0}" srcId="{65AF27A2-4B9F-4239-9846-4134924EE728}" destId="{420C2FA5-9CA5-46E1-99E4-D86413984510}" srcOrd="0" destOrd="0" parTransId="{C5BB1DFF-2C31-454D-B7E7-3FA018C89AC1}" sibTransId="{E79E53C8-1543-4CCE-A224-4F49724EFEEB}"/>
    <dgm:cxn modelId="{5E4EE69B-076A-4C4D-82AA-68AB767A8BB4}" type="presOf" srcId="{F2C3305C-7FC4-4A3C-B8B8-C48E4EE68147}" destId="{4465D4B3-60EB-4438-B5D9-BCF0825C4BB4}" srcOrd="0" destOrd="0" presId="urn:microsoft.com/office/officeart/2005/8/layout/chevron2"/>
    <dgm:cxn modelId="{89CEB390-3113-4E3B-9BC9-19688986277A}" type="presOf" srcId="{420C2FA5-9CA5-46E1-99E4-D86413984510}" destId="{19FC8E80-B373-47AE-BD92-AE29D2DD6255}" srcOrd="0" destOrd="0" presId="urn:microsoft.com/office/officeart/2005/8/layout/chevron2"/>
    <dgm:cxn modelId="{2011E97F-D391-4FBF-970D-2068934CBB3E}" srcId="{65AF27A2-4B9F-4239-9846-4134924EE728}" destId="{D8DB4D28-20D6-4E45-8555-2E073EEB8A44}" srcOrd="1" destOrd="0" parTransId="{AC2AB086-3A0A-4C2E-98C6-78073C3DE6BE}" sibTransId="{FF82B5E0-3D2D-400E-B1B6-125532C577F1}"/>
    <dgm:cxn modelId="{913B5967-5048-4FF9-B756-C04A43CF7306}" type="presOf" srcId="{EB12AED5-B26C-47DE-8440-11EF24912D17}" destId="{1614E3F3-548E-4669-B4A3-C022971C3E4A}" srcOrd="0" destOrd="1" presId="urn:microsoft.com/office/officeart/2005/8/layout/chevron2"/>
    <dgm:cxn modelId="{C80B84DD-0B54-468A-8A45-71D6D1C0F5A8}" type="presOf" srcId="{27893813-7B11-4E07-8B08-BE7A627F5B97}" destId="{E2BD77D3-26DC-4C82-8308-6C972CB0DC2C}" srcOrd="0" destOrd="0" presId="urn:microsoft.com/office/officeart/2005/8/layout/chevron2"/>
    <dgm:cxn modelId="{65EC01CB-9DF6-4B3F-A0F7-C175239A01EE}" type="presOf" srcId="{7ADC4BF7-E75C-4157-8B37-57974805E517}" destId="{1614E3F3-548E-4669-B4A3-C022971C3E4A}" srcOrd="0" destOrd="3" presId="urn:microsoft.com/office/officeart/2005/8/layout/chevron2"/>
    <dgm:cxn modelId="{7920BCE0-3756-43DE-8F41-D527A4BB8D2C}" type="presOf" srcId="{65AF27A2-4B9F-4239-9846-4134924EE728}" destId="{B986EDF2-3686-421A-AE7A-03E819959FCC}" srcOrd="0" destOrd="0" presId="urn:microsoft.com/office/officeart/2005/8/layout/chevron2"/>
    <dgm:cxn modelId="{F6866FBD-29B5-43C6-9514-4A550F686323}" srcId="{27893813-7B11-4E07-8B08-BE7A627F5B97}" destId="{EB12AED5-B26C-47DE-8440-11EF24912D17}" srcOrd="1" destOrd="0" parTransId="{157CCF9F-942B-4C86-9B6F-DC86DC369B32}" sibTransId="{6FB7F59E-D801-4B2E-A9EC-6716EB4F77CE}"/>
    <dgm:cxn modelId="{B177E3E6-6EA5-4E12-95B6-4AE9459F9258}" type="presOf" srcId="{10822B06-C5D0-454C-9596-AEC9D893F0BF}" destId="{1614E3F3-548E-4669-B4A3-C022971C3E4A}" srcOrd="0" destOrd="2" presId="urn:microsoft.com/office/officeart/2005/8/layout/chevron2"/>
    <dgm:cxn modelId="{A7388582-65B1-4F91-A3D5-A689B5A47C16}" srcId="{F2C3305C-7FC4-4A3C-B8B8-C48E4EE68147}" destId="{FA9CCB5D-B127-4E2B-B3A2-2E3A9746859E}" srcOrd="2" destOrd="0" parTransId="{AF1DB8E0-A0BE-41C3-ABE8-C34E8259EEC9}" sibTransId="{55DD3389-F4B5-4425-8690-A618C3ADC8AE}"/>
    <dgm:cxn modelId="{F40E31D3-3F76-4268-9AD5-839414590698}" type="presParOf" srcId="{971903DF-860F-4B03-8DF2-6DA0F84E2483}" destId="{5A0090EA-4D8D-4DD7-9E5E-9D4096037839}" srcOrd="0" destOrd="0" presId="urn:microsoft.com/office/officeart/2005/8/layout/chevron2"/>
    <dgm:cxn modelId="{F0723B15-D921-493E-B89C-DF3DB902C498}" type="presParOf" srcId="{5A0090EA-4D8D-4DD7-9E5E-9D4096037839}" destId="{B986EDF2-3686-421A-AE7A-03E819959FCC}" srcOrd="0" destOrd="0" presId="urn:microsoft.com/office/officeart/2005/8/layout/chevron2"/>
    <dgm:cxn modelId="{363095C5-9FEC-41D4-8EB5-63F3762CC861}" type="presParOf" srcId="{5A0090EA-4D8D-4DD7-9E5E-9D4096037839}" destId="{19FC8E80-B373-47AE-BD92-AE29D2DD6255}" srcOrd="1" destOrd="0" presId="urn:microsoft.com/office/officeart/2005/8/layout/chevron2"/>
    <dgm:cxn modelId="{DE2C0FDB-CE2A-47D8-A74F-BA71CC691904}" type="presParOf" srcId="{971903DF-860F-4B03-8DF2-6DA0F84E2483}" destId="{ABD65AD7-CAEC-4D39-8272-4E07AB655322}" srcOrd="1" destOrd="0" presId="urn:microsoft.com/office/officeart/2005/8/layout/chevron2"/>
    <dgm:cxn modelId="{B4A6C18E-C128-47F9-BFC2-30968917EE94}" type="presParOf" srcId="{971903DF-860F-4B03-8DF2-6DA0F84E2483}" destId="{3826424F-14CD-4C17-9DAD-7B844539C7B4}" srcOrd="2" destOrd="0" presId="urn:microsoft.com/office/officeart/2005/8/layout/chevron2"/>
    <dgm:cxn modelId="{B774732C-1557-410C-86FB-6C13FB265B9C}" type="presParOf" srcId="{3826424F-14CD-4C17-9DAD-7B844539C7B4}" destId="{4465D4B3-60EB-4438-B5D9-BCF0825C4BB4}" srcOrd="0" destOrd="0" presId="urn:microsoft.com/office/officeart/2005/8/layout/chevron2"/>
    <dgm:cxn modelId="{3A733933-6760-4B1D-B5A4-9A2C88700279}" type="presParOf" srcId="{3826424F-14CD-4C17-9DAD-7B844539C7B4}" destId="{71999EE7-BB5F-4E71-9100-D1DDFEB27805}" srcOrd="1" destOrd="0" presId="urn:microsoft.com/office/officeart/2005/8/layout/chevron2"/>
    <dgm:cxn modelId="{3B2A135E-B87A-4F4B-8AD2-2C7B9098F061}" type="presParOf" srcId="{971903DF-860F-4B03-8DF2-6DA0F84E2483}" destId="{EDB11D7C-41D4-4BA6-8C08-C8AC32EA90E8}" srcOrd="3" destOrd="0" presId="urn:microsoft.com/office/officeart/2005/8/layout/chevron2"/>
    <dgm:cxn modelId="{7C09A879-51C2-43FC-B62C-E79B43D9839E}" type="presParOf" srcId="{971903DF-860F-4B03-8DF2-6DA0F84E2483}" destId="{7F01CE68-19C1-485D-8AE7-4583E9AA27DF}" srcOrd="4" destOrd="0" presId="urn:microsoft.com/office/officeart/2005/8/layout/chevron2"/>
    <dgm:cxn modelId="{95DE8CD5-CDA4-4809-AEB8-A2F6A4B43391}" type="presParOf" srcId="{7F01CE68-19C1-485D-8AE7-4583E9AA27DF}" destId="{E2BD77D3-26DC-4C82-8308-6C972CB0DC2C}" srcOrd="0" destOrd="0" presId="urn:microsoft.com/office/officeart/2005/8/layout/chevron2"/>
    <dgm:cxn modelId="{530507CE-7D1D-48CC-BA45-C66AACA2F3B4}" type="presParOf" srcId="{7F01CE68-19C1-485D-8AE7-4583E9AA27DF}" destId="{1614E3F3-548E-4669-B4A3-C022971C3E4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78675F-89E3-4365-9BFD-B00FBC1193F5}">
      <dsp:nvSpPr>
        <dsp:cNvPr id="0" name=""/>
        <dsp:cNvSpPr/>
      </dsp:nvSpPr>
      <dsp:spPr>
        <a:xfrm>
          <a:off x="0" y="352833"/>
          <a:ext cx="11431751" cy="4725000"/>
        </a:xfrm>
        <a:prstGeom prst="rect">
          <a:avLst/>
        </a:prstGeom>
        <a:solidFill>
          <a:schemeClr val="bg1"/>
        </a:solidFill>
        <a:ln w="12700" cap="flat" cmpd="sng" algn="ctr">
          <a:solidFill>
            <a:srgbClr val="8B4D8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7231" tIns="312420" rIns="887231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+mn-lt"/>
              <a:cs typeface="Arial" pitchFamily="34" charset="0"/>
            </a:rPr>
            <a:t>С</a:t>
          </a:r>
          <a:r>
            <a:rPr lang="kk-KZ" sz="1800" b="1" kern="1200" dirty="0" smtClean="0">
              <a:latin typeface="+mn-lt"/>
              <a:cs typeface="Arial" pitchFamily="34" charset="0"/>
            </a:rPr>
            <a:t>оздание диалоговых площадок между разными стейкхолдерами </a:t>
          </a:r>
          <a:endParaRPr lang="ru-RU" sz="1800" kern="1200" dirty="0">
            <a:latin typeface="+mn-lt"/>
          </a:endParaRP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+mn-lt"/>
              <a:cs typeface="Arial" pitchFamily="34" charset="0"/>
            </a:rPr>
            <a:t>Проведение семинаров-тренингов, мероприятий </a:t>
          </a:r>
          <a:r>
            <a:rPr lang="kk-KZ" sz="1800" kern="1200" dirty="0" smtClean="0">
              <a:latin typeface="+mn-lt"/>
              <a:cs typeface="Arial" pitchFamily="34" charset="0"/>
            </a:rPr>
            <a:t>для обсуждения современных трендов развития образования и комплексного обновления ОП;</a:t>
          </a:r>
          <a:endParaRPr lang="ru-RU" sz="1800" kern="1200" dirty="0">
            <a:latin typeface="+mn-lt"/>
          </a:endParaRP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+mn-lt"/>
              <a:cs typeface="Arial" pitchFamily="34" charset="0"/>
            </a:rPr>
            <a:t>Включение в членство работодателей, ведущих ученых и ППС из других вузов, Назарбаев Университета и НИШ, зарубежных партнеров.</a:t>
          </a:r>
          <a:endParaRPr lang="ru-RU" sz="1800" kern="1200" dirty="0">
            <a:latin typeface="+mn-lt"/>
            <a:ea typeface="+mn-ea"/>
            <a:cs typeface="Arial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+mn-lt"/>
              <a:cs typeface="Arial" pitchFamily="34" charset="0"/>
            </a:rPr>
            <a:t>Повышение качества образования и профессиональной подготовки кадров</a:t>
          </a:r>
          <a:endParaRPr lang="ru-RU" sz="1800" b="1" kern="1200" dirty="0">
            <a:latin typeface="+mn-lt"/>
          </a:endParaRP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+mn-lt"/>
              <a:cs typeface="Arial" pitchFamily="34" charset="0"/>
            </a:rPr>
            <a:t>Проведение исследования потребности рынка труда;</a:t>
          </a:r>
          <a:endParaRPr lang="ru-RU" sz="1800" b="1" kern="1200" dirty="0">
            <a:latin typeface="+mn-lt"/>
          </a:endParaRP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+mn-lt"/>
              <a:cs typeface="Arial" pitchFamily="34" charset="0"/>
            </a:rPr>
            <a:t>Распространение результатов исследования между другими участниками УМО; </a:t>
          </a:r>
          <a:endParaRPr lang="ru-RU" sz="1800" kern="1200" dirty="0">
            <a:latin typeface="+mn-lt"/>
            <a:cs typeface="Arial" pitchFamily="34" charset="0"/>
          </a:endParaRP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+mn-lt"/>
              <a:cs typeface="Arial" pitchFamily="34" charset="0"/>
            </a:rPr>
            <a:t>Выработка единых подходов к разработке и совершенствованию ОП с учетом рынка труда;</a:t>
          </a:r>
          <a:endParaRPr lang="ru-RU" sz="1800" kern="1200" dirty="0">
            <a:latin typeface="+mn-lt"/>
            <a:cs typeface="Arial" pitchFamily="34" charset="0"/>
          </a:endParaRP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+mn-lt"/>
              <a:cs typeface="Arial" pitchFamily="34" charset="0"/>
            </a:rPr>
            <a:t>Рекомендация по применению </a:t>
          </a:r>
          <a:r>
            <a:rPr lang="ru-RU" sz="1800" kern="1200" dirty="0" err="1" smtClean="0">
              <a:latin typeface="+mn-lt"/>
              <a:cs typeface="Arial" pitchFamily="34" charset="0"/>
            </a:rPr>
            <a:t>профстандартов</a:t>
          </a:r>
          <a:r>
            <a:rPr lang="ru-RU" sz="1800" kern="1200" dirty="0" smtClean="0">
              <a:latin typeface="+mn-lt"/>
              <a:cs typeface="Arial" pitchFamily="34" charset="0"/>
            </a:rPr>
            <a:t> и ОРК при разработке ОП;</a:t>
          </a:r>
          <a:endParaRPr lang="ru-RU" sz="1800" kern="1200" dirty="0">
            <a:latin typeface="+mn-lt"/>
            <a:cs typeface="Arial" pitchFamily="34" charset="0"/>
          </a:endParaRP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+mn-lt"/>
              <a:cs typeface="Arial" pitchFamily="34" charset="0"/>
            </a:rPr>
            <a:t>Разъяснение о роли НСК на заседании УМО.</a:t>
          </a:r>
          <a:r>
            <a:rPr lang="ru-RU" sz="1800" b="1" kern="1200" dirty="0" smtClean="0">
              <a:latin typeface="+mn-lt"/>
              <a:cs typeface="Arial" pitchFamily="34" charset="0"/>
            </a:rPr>
            <a:t>           </a:t>
          </a:r>
          <a:r>
            <a:rPr lang="kk-KZ" sz="1800" b="1" i="1" kern="1200" dirty="0" smtClean="0">
              <a:latin typeface="+mn-lt"/>
              <a:cs typeface="Arial" pitchFamily="34" charset="0"/>
            </a:rPr>
            <a:t>  </a:t>
          </a:r>
          <a:endParaRPr lang="ru-RU" sz="1800" kern="1200" dirty="0">
            <a:latin typeface="+mn-lt"/>
            <a:cs typeface="Arial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+mn-lt"/>
              <a:cs typeface="Arial" pitchFamily="34" charset="0"/>
            </a:rPr>
            <a:t>Повышение конкурентоспособности ВУЗов </a:t>
          </a:r>
          <a:r>
            <a:rPr lang="ru-RU" sz="1800" b="1" kern="1200" dirty="0" smtClean="0">
              <a:latin typeface="+mn-lt"/>
              <a:ea typeface="+mn-ea"/>
              <a:cs typeface="Arial" pitchFamily="34" charset="0"/>
            </a:rPr>
            <a:t>  </a:t>
          </a:r>
          <a:endParaRPr lang="ru-RU" sz="1800" b="1" kern="1200" dirty="0">
            <a:latin typeface="+mn-lt"/>
            <a:ea typeface="+mn-ea"/>
            <a:cs typeface="Arial" pitchFamily="34" charset="0"/>
          </a:endParaRP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+mn-lt"/>
              <a:cs typeface="Arial" pitchFamily="34" charset="0"/>
            </a:rPr>
            <a:t>Выработка единых подходов к формированию результатов обучения (компетенций) и оценивания достижений обучения.</a:t>
          </a:r>
          <a:endParaRPr lang="ru-RU" sz="1800" b="1" kern="1200" dirty="0">
            <a:latin typeface="+mn-lt"/>
            <a:ea typeface="+mn-ea"/>
            <a:cs typeface="Arial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+mn-lt"/>
              <a:cs typeface="Arial" pitchFamily="34" charset="0"/>
            </a:rPr>
            <a:t>Формирование рекомендаций по определению профильных предметов</a:t>
          </a:r>
          <a:endParaRPr lang="ru-RU" sz="1800" b="1" kern="1200" dirty="0">
            <a:latin typeface="+mn-lt"/>
            <a:ea typeface="+mn-ea"/>
            <a:cs typeface="Arial" pitchFamily="34" charset="0"/>
          </a:endParaRPr>
        </a:p>
        <a:p>
          <a:pPr marL="342900" lvl="2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+mn-lt"/>
              <a:cs typeface="Arial" pitchFamily="34" charset="0"/>
            </a:rPr>
            <a:t>Предложения по приему и требованиям к поступающим в ВУЗы.</a:t>
          </a:r>
          <a:endParaRPr lang="ru-RU" sz="1800" b="1" kern="1200" dirty="0">
            <a:latin typeface="+mn-lt"/>
            <a:ea typeface="+mn-ea"/>
            <a:cs typeface="Arial" pitchFamily="34" charset="0"/>
          </a:endParaRPr>
        </a:p>
      </dsp:txBody>
      <dsp:txXfrm>
        <a:off x="0" y="352833"/>
        <a:ext cx="11431751" cy="4725000"/>
      </dsp:txXfrm>
    </dsp:sp>
    <dsp:sp modelId="{86F1674B-EE23-46BF-B16A-C655EFEEA00C}">
      <dsp:nvSpPr>
        <dsp:cNvPr id="0" name=""/>
        <dsp:cNvSpPr/>
      </dsp:nvSpPr>
      <dsp:spPr>
        <a:xfrm flipH="1">
          <a:off x="234099" y="0"/>
          <a:ext cx="3217534" cy="559805"/>
        </a:xfrm>
        <a:prstGeom prst="roundRect">
          <a:avLst/>
        </a:prstGeom>
        <a:solidFill>
          <a:srgbClr val="8B4D80"/>
        </a:solidFill>
        <a:ln w="12700" cap="flat" cmpd="sng" algn="ctr">
          <a:solidFill>
            <a:srgbClr val="8B4D8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465" tIns="0" rIns="30246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bg1"/>
              </a:solidFill>
              <a:latin typeface="+mn-lt"/>
            </a:rPr>
            <a:t>Задачи:</a:t>
          </a:r>
          <a:endParaRPr lang="ru-RU" sz="2000" kern="1200" dirty="0">
            <a:solidFill>
              <a:schemeClr val="bg1"/>
            </a:solidFill>
            <a:latin typeface="+mn-lt"/>
          </a:endParaRPr>
        </a:p>
      </dsp:txBody>
      <dsp:txXfrm>
        <a:off x="261426" y="27327"/>
        <a:ext cx="3162880" cy="5051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280BBC-E0F1-4A3B-A90F-C2AF17311714}">
      <dsp:nvSpPr>
        <dsp:cNvPr id="0" name=""/>
        <dsp:cNvSpPr/>
      </dsp:nvSpPr>
      <dsp:spPr>
        <a:xfrm>
          <a:off x="0" y="4787718"/>
          <a:ext cx="9998402" cy="62838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8B4D8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Завершение проекта</a:t>
          </a:r>
          <a:endParaRPr lang="ru-RU" sz="2200" kern="1200" dirty="0"/>
        </a:p>
      </dsp:txBody>
      <dsp:txXfrm>
        <a:off x="0" y="4787718"/>
        <a:ext cx="9998402" cy="628385"/>
      </dsp:txXfrm>
    </dsp:sp>
    <dsp:sp modelId="{9CD6A132-E046-4528-9C84-FD1701ACB643}">
      <dsp:nvSpPr>
        <dsp:cNvPr id="0" name=""/>
        <dsp:cNvSpPr/>
      </dsp:nvSpPr>
      <dsp:spPr>
        <a:xfrm rot="10800000">
          <a:off x="0" y="3830687"/>
          <a:ext cx="9998402" cy="966456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8B4D8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Отчет о реализации проекта</a:t>
          </a:r>
          <a:endParaRPr lang="ru-RU" sz="2200" kern="1200" dirty="0"/>
        </a:p>
      </dsp:txBody>
      <dsp:txXfrm rot="10800000">
        <a:off x="0" y="3830687"/>
        <a:ext cx="9998402" cy="627974"/>
      </dsp:txXfrm>
    </dsp:sp>
    <dsp:sp modelId="{93C47119-9C57-474A-86EE-A3205750C699}">
      <dsp:nvSpPr>
        <dsp:cNvPr id="0" name=""/>
        <dsp:cNvSpPr/>
      </dsp:nvSpPr>
      <dsp:spPr>
        <a:xfrm rot="10800000">
          <a:off x="0" y="2873656"/>
          <a:ext cx="9998402" cy="966456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8B4D8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Реализация проекта с еженедельным контролем выполнения</a:t>
          </a:r>
          <a:endParaRPr lang="ru-RU" sz="2200" kern="1200" dirty="0"/>
        </a:p>
      </dsp:txBody>
      <dsp:txXfrm rot="10800000">
        <a:off x="0" y="2873656"/>
        <a:ext cx="9998402" cy="627974"/>
      </dsp:txXfrm>
    </dsp:sp>
    <dsp:sp modelId="{0C1A09F1-AA6A-4457-9EE6-9B7605B212CC}">
      <dsp:nvSpPr>
        <dsp:cNvPr id="0" name=""/>
        <dsp:cNvSpPr/>
      </dsp:nvSpPr>
      <dsp:spPr>
        <a:xfrm rot="10800000">
          <a:off x="0" y="1916625"/>
          <a:ext cx="9998402" cy="966456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8B4D8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Утверждение устава и плана реализации проекта</a:t>
          </a:r>
          <a:endParaRPr lang="ru-RU" sz="2200" kern="1200" dirty="0"/>
        </a:p>
      </dsp:txBody>
      <dsp:txXfrm rot="10800000">
        <a:off x="0" y="1916625"/>
        <a:ext cx="9998402" cy="627974"/>
      </dsp:txXfrm>
    </dsp:sp>
    <dsp:sp modelId="{6E5A5DF5-FEA7-46B2-A140-DB6D6F058063}">
      <dsp:nvSpPr>
        <dsp:cNvPr id="0" name=""/>
        <dsp:cNvSpPr/>
      </dsp:nvSpPr>
      <dsp:spPr>
        <a:xfrm rot="10800000">
          <a:off x="0" y="959594"/>
          <a:ext cx="9998402" cy="966456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8B4D8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Обсуждение проекта на заседании УМО</a:t>
          </a:r>
          <a:endParaRPr lang="ru-RU" sz="2200" kern="1200" dirty="0"/>
        </a:p>
      </dsp:txBody>
      <dsp:txXfrm rot="10800000">
        <a:off x="0" y="959594"/>
        <a:ext cx="9998402" cy="627974"/>
      </dsp:txXfrm>
    </dsp:sp>
    <dsp:sp modelId="{B6F0B790-84B4-4834-A4D9-A1B1036A2E85}">
      <dsp:nvSpPr>
        <dsp:cNvPr id="0" name=""/>
        <dsp:cNvSpPr/>
      </dsp:nvSpPr>
      <dsp:spPr>
        <a:xfrm rot="10800000">
          <a:off x="0" y="2563"/>
          <a:ext cx="9998402" cy="966456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8B4D8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Разработка проекта в рамках деятельности УМО</a:t>
          </a:r>
          <a:endParaRPr lang="ru-RU" sz="2200" kern="1200" dirty="0"/>
        </a:p>
      </dsp:txBody>
      <dsp:txXfrm rot="10800000">
        <a:off x="0" y="2563"/>
        <a:ext cx="9998402" cy="62797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CCF971-09D8-4C65-AF2D-4AC3CE136782}">
      <dsp:nvSpPr>
        <dsp:cNvPr id="0" name=""/>
        <dsp:cNvSpPr/>
      </dsp:nvSpPr>
      <dsp:spPr>
        <a:xfrm>
          <a:off x="5704" y="464823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Определение формата </a:t>
          </a:r>
          <a:r>
            <a:rPr lang="ru-RU" sz="1300" kern="1200" dirty="0" err="1" smtClean="0"/>
            <a:t>инст.исследования</a:t>
          </a:r>
          <a:r>
            <a:rPr lang="ru-RU" sz="1300" kern="1200" dirty="0" smtClean="0"/>
            <a:t>, критериев оценки качества образования, методов измерения, ...</a:t>
          </a:r>
          <a:endParaRPr lang="en-US" sz="1300" kern="1200" dirty="0"/>
        </a:p>
      </dsp:txBody>
      <dsp:txXfrm>
        <a:off x="36780" y="495899"/>
        <a:ext cx="1706192" cy="998854"/>
      </dsp:txXfrm>
    </dsp:sp>
    <dsp:sp modelId="{8A2D2232-CC17-48A5-8616-9AC9C820AD99}">
      <dsp:nvSpPr>
        <dsp:cNvPr id="0" name=""/>
        <dsp:cNvSpPr/>
      </dsp:nvSpPr>
      <dsp:spPr>
        <a:xfrm>
          <a:off x="1929663" y="776052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8B4D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1929663" y="863762"/>
        <a:ext cx="262422" cy="263129"/>
      </dsp:txXfrm>
    </dsp:sp>
    <dsp:sp modelId="{2B159FF8-197D-4614-BFD9-85969DD9C42A}">
      <dsp:nvSpPr>
        <dsp:cNvPr id="0" name=""/>
        <dsp:cNvSpPr/>
      </dsp:nvSpPr>
      <dsp:spPr>
        <a:xfrm>
          <a:off x="2481386" y="464823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Планирование времени и ресурсов проекта – 1 </a:t>
          </a:r>
          <a:r>
            <a:rPr lang="ru-RU" sz="1300" kern="1200" dirty="0" err="1" smtClean="0"/>
            <a:t>уч.год</a:t>
          </a:r>
          <a:r>
            <a:rPr lang="ru-RU" sz="1300" kern="1200" dirty="0" smtClean="0"/>
            <a:t>.</a:t>
          </a:r>
        </a:p>
      </dsp:txBody>
      <dsp:txXfrm>
        <a:off x="2512462" y="495899"/>
        <a:ext cx="1706192" cy="998854"/>
      </dsp:txXfrm>
    </dsp:sp>
    <dsp:sp modelId="{EDC49DF1-285E-4F94-BE47-F522033076CB}">
      <dsp:nvSpPr>
        <dsp:cNvPr id="0" name=""/>
        <dsp:cNvSpPr/>
      </dsp:nvSpPr>
      <dsp:spPr>
        <a:xfrm>
          <a:off x="4405345" y="776052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8B4D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4405345" y="863762"/>
        <a:ext cx="262422" cy="263129"/>
      </dsp:txXfrm>
    </dsp:sp>
    <dsp:sp modelId="{B8DA77D0-102F-419A-A0EB-C7EF5FECF0A5}">
      <dsp:nvSpPr>
        <dsp:cNvPr id="0" name=""/>
        <dsp:cNvSpPr/>
      </dsp:nvSpPr>
      <dsp:spPr>
        <a:xfrm>
          <a:off x="4957069" y="464823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Риски – закрытость вузов, отказ от предоставления данных, отсутствие </a:t>
          </a:r>
          <a:r>
            <a:rPr lang="ru-RU" sz="1300" kern="1200" dirty="0" err="1" smtClean="0"/>
            <a:t>квал.исследователей</a:t>
          </a:r>
          <a:endParaRPr lang="ru-RU" sz="1300" kern="1200" dirty="0" smtClean="0"/>
        </a:p>
      </dsp:txBody>
      <dsp:txXfrm>
        <a:off x="4988145" y="495899"/>
        <a:ext cx="1706192" cy="998854"/>
      </dsp:txXfrm>
    </dsp:sp>
    <dsp:sp modelId="{6CB6EA37-3AA2-448D-BAC5-A8D2B63DA871}">
      <dsp:nvSpPr>
        <dsp:cNvPr id="0" name=""/>
        <dsp:cNvSpPr/>
      </dsp:nvSpPr>
      <dsp:spPr>
        <a:xfrm>
          <a:off x="6881028" y="776052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8B4D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6881028" y="863762"/>
        <a:ext cx="262422" cy="263129"/>
      </dsp:txXfrm>
    </dsp:sp>
    <dsp:sp modelId="{18FEED9A-7261-4D13-ABA8-CC3CDEA7178E}">
      <dsp:nvSpPr>
        <dsp:cNvPr id="0" name=""/>
        <dsp:cNvSpPr/>
      </dsp:nvSpPr>
      <dsp:spPr>
        <a:xfrm>
          <a:off x="7432751" y="464823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Формирование команды проекта</a:t>
          </a:r>
        </a:p>
      </dsp:txBody>
      <dsp:txXfrm>
        <a:off x="7463827" y="495899"/>
        <a:ext cx="1706192" cy="998854"/>
      </dsp:txXfrm>
    </dsp:sp>
    <dsp:sp modelId="{A351A85C-AC8C-440B-8547-C251D520A0D8}">
      <dsp:nvSpPr>
        <dsp:cNvPr id="0" name=""/>
        <dsp:cNvSpPr/>
      </dsp:nvSpPr>
      <dsp:spPr>
        <a:xfrm>
          <a:off x="9356710" y="776052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8B4D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9356710" y="863762"/>
        <a:ext cx="262422" cy="263129"/>
      </dsp:txXfrm>
    </dsp:sp>
    <dsp:sp modelId="{4056574B-1360-4030-BB7F-CB5D3E244C44}">
      <dsp:nvSpPr>
        <dsp:cNvPr id="0" name=""/>
        <dsp:cNvSpPr/>
      </dsp:nvSpPr>
      <dsp:spPr>
        <a:xfrm>
          <a:off x="9908434" y="464823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Оценка ресурсов  </a:t>
          </a:r>
        </a:p>
      </dsp:txBody>
      <dsp:txXfrm>
        <a:off x="9939510" y="495899"/>
        <a:ext cx="1706192" cy="998854"/>
      </dsp:txXfrm>
    </dsp:sp>
    <dsp:sp modelId="{A262ABEE-291B-4332-A6EF-B95A61E71BF8}">
      <dsp:nvSpPr>
        <dsp:cNvPr id="0" name=""/>
        <dsp:cNvSpPr/>
      </dsp:nvSpPr>
      <dsp:spPr>
        <a:xfrm rot="5400000">
          <a:off x="10605161" y="1649614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CC33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 rot="-5400000">
        <a:off x="10661042" y="1681444"/>
        <a:ext cx="263129" cy="262422"/>
      </dsp:txXfrm>
    </dsp:sp>
    <dsp:sp modelId="{FD66DF65-C14D-44FA-B046-0EB57DE3EB4F}">
      <dsp:nvSpPr>
        <dsp:cNvPr id="0" name=""/>
        <dsp:cNvSpPr/>
      </dsp:nvSpPr>
      <dsp:spPr>
        <a:xfrm>
          <a:off x="9908434" y="2233168"/>
          <a:ext cx="1768344" cy="1061006"/>
        </a:xfrm>
        <a:prstGeom prst="roundRect">
          <a:avLst>
            <a:gd name="adj" fmla="val 10000"/>
          </a:avLst>
        </a:prstGeom>
        <a:solidFill>
          <a:srgbClr val="CC339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Определение формата коммуникации: формы, периодичность, ИТ</a:t>
          </a:r>
        </a:p>
      </dsp:txBody>
      <dsp:txXfrm>
        <a:off x="9939510" y="2264244"/>
        <a:ext cx="1706192" cy="998854"/>
      </dsp:txXfrm>
    </dsp:sp>
    <dsp:sp modelId="{E09C3F12-F7C1-4872-89BC-D2978E7C0ACE}">
      <dsp:nvSpPr>
        <dsp:cNvPr id="0" name=""/>
        <dsp:cNvSpPr/>
      </dsp:nvSpPr>
      <dsp:spPr>
        <a:xfrm rot="10800000">
          <a:off x="9377930" y="2544396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CC33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 rot="10800000">
        <a:off x="9490397" y="2632106"/>
        <a:ext cx="262422" cy="263129"/>
      </dsp:txXfrm>
    </dsp:sp>
    <dsp:sp modelId="{0ABE59B9-5E36-4299-8730-F83EE7C1639C}">
      <dsp:nvSpPr>
        <dsp:cNvPr id="0" name=""/>
        <dsp:cNvSpPr/>
      </dsp:nvSpPr>
      <dsp:spPr>
        <a:xfrm>
          <a:off x="7432751" y="2233168"/>
          <a:ext cx="1768344" cy="1061006"/>
        </a:xfrm>
        <a:prstGeom prst="roundRect">
          <a:avLst>
            <a:gd name="adj" fmla="val 10000"/>
          </a:avLst>
        </a:prstGeom>
        <a:solidFill>
          <a:srgbClr val="CC339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Отслеживание – соблюдения графика</a:t>
          </a:r>
        </a:p>
      </dsp:txBody>
      <dsp:txXfrm>
        <a:off x="7463827" y="2264244"/>
        <a:ext cx="1706192" cy="998854"/>
      </dsp:txXfrm>
    </dsp:sp>
    <dsp:sp modelId="{7E62BCF8-76DC-476B-8D1A-21D3A9DFDA31}">
      <dsp:nvSpPr>
        <dsp:cNvPr id="0" name=""/>
        <dsp:cNvSpPr/>
      </dsp:nvSpPr>
      <dsp:spPr>
        <a:xfrm rot="10800000">
          <a:off x="6902248" y="2544396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CC33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 rot="10800000">
        <a:off x="7014715" y="2632106"/>
        <a:ext cx="262422" cy="263129"/>
      </dsp:txXfrm>
    </dsp:sp>
    <dsp:sp modelId="{66B5FDF5-490A-4C07-88E0-28A9F7F24B1A}">
      <dsp:nvSpPr>
        <dsp:cNvPr id="0" name=""/>
        <dsp:cNvSpPr/>
      </dsp:nvSpPr>
      <dsp:spPr>
        <a:xfrm>
          <a:off x="4957069" y="2233168"/>
          <a:ext cx="1768344" cy="1061006"/>
        </a:xfrm>
        <a:prstGeom prst="roundRect">
          <a:avLst>
            <a:gd name="adj" fmla="val 10000"/>
          </a:avLst>
        </a:prstGeom>
        <a:solidFill>
          <a:srgbClr val="CC339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Измерение и анализ данных</a:t>
          </a:r>
        </a:p>
      </dsp:txBody>
      <dsp:txXfrm>
        <a:off x="4988145" y="2264244"/>
        <a:ext cx="1706192" cy="998854"/>
      </dsp:txXfrm>
    </dsp:sp>
    <dsp:sp modelId="{0EF6AD6D-D484-4745-AAFB-D418AE1FF210}">
      <dsp:nvSpPr>
        <dsp:cNvPr id="0" name=""/>
        <dsp:cNvSpPr/>
      </dsp:nvSpPr>
      <dsp:spPr>
        <a:xfrm rot="10800000">
          <a:off x="4426565" y="2544396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CC33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 rot="10800000">
        <a:off x="4539032" y="2632106"/>
        <a:ext cx="262422" cy="263129"/>
      </dsp:txXfrm>
    </dsp:sp>
    <dsp:sp modelId="{454E5565-4B39-4B86-BBC8-F5E17538ED5F}">
      <dsp:nvSpPr>
        <dsp:cNvPr id="0" name=""/>
        <dsp:cNvSpPr/>
      </dsp:nvSpPr>
      <dsp:spPr>
        <a:xfrm>
          <a:off x="2481386" y="2233168"/>
          <a:ext cx="1768344" cy="1061006"/>
        </a:xfrm>
        <a:prstGeom prst="roundRect">
          <a:avLst>
            <a:gd name="adj" fmla="val 10000"/>
          </a:avLst>
        </a:prstGeom>
        <a:solidFill>
          <a:srgbClr val="CC339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Оценка выполнения этапов проекта</a:t>
          </a:r>
        </a:p>
      </dsp:txBody>
      <dsp:txXfrm>
        <a:off x="2512462" y="2264244"/>
        <a:ext cx="1706192" cy="998854"/>
      </dsp:txXfrm>
    </dsp:sp>
    <dsp:sp modelId="{802D72C9-7FCE-4AB9-95AF-5068E904464B}">
      <dsp:nvSpPr>
        <dsp:cNvPr id="0" name=""/>
        <dsp:cNvSpPr/>
      </dsp:nvSpPr>
      <dsp:spPr>
        <a:xfrm rot="10800000">
          <a:off x="1950883" y="2544396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CC33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 rot="10800000">
        <a:off x="2063350" y="2632106"/>
        <a:ext cx="262422" cy="263129"/>
      </dsp:txXfrm>
    </dsp:sp>
    <dsp:sp modelId="{39BD7EA2-9B67-4025-8517-06AFEA7F3F3C}">
      <dsp:nvSpPr>
        <dsp:cNvPr id="0" name=""/>
        <dsp:cNvSpPr/>
      </dsp:nvSpPr>
      <dsp:spPr>
        <a:xfrm>
          <a:off x="5704" y="2233168"/>
          <a:ext cx="1768344" cy="1061006"/>
        </a:xfrm>
        <a:prstGeom prst="roundRect">
          <a:avLst>
            <a:gd name="adj" fmla="val 10000"/>
          </a:avLst>
        </a:prstGeom>
        <a:solidFill>
          <a:srgbClr val="CC339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Подготовка отчета о обеспечении качества</a:t>
          </a:r>
        </a:p>
      </dsp:txBody>
      <dsp:txXfrm>
        <a:off x="36780" y="2264244"/>
        <a:ext cx="1706192" cy="998854"/>
      </dsp:txXfrm>
    </dsp:sp>
    <dsp:sp modelId="{FA884851-E287-4179-82A5-9E463B63261A}">
      <dsp:nvSpPr>
        <dsp:cNvPr id="0" name=""/>
        <dsp:cNvSpPr/>
      </dsp:nvSpPr>
      <dsp:spPr>
        <a:xfrm rot="5400000">
          <a:off x="702432" y="3417959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8B4D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 rot="-5400000">
        <a:off x="758313" y="3449789"/>
        <a:ext cx="263129" cy="262422"/>
      </dsp:txXfrm>
    </dsp:sp>
    <dsp:sp modelId="{176D150D-1508-4C6B-923C-85F7DDFD408B}">
      <dsp:nvSpPr>
        <dsp:cNvPr id="0" name=""/>
        <dsp:cNvSpPr/>
      </dsp:nvSpPr>
      <dsp:spPr>
        <a:xfrm>
          <a:off x="5704" y="4001512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Анализ прогресс,  в соответствие с планом, результаты и прогноз завершения проекта</a:t>
          </a:r>
        </a:p>
      </dsp:txBody>
      <dsp:txXfrm>
        <a:off x="36780" y="4032588"/>
        <a:ext cx="1706192" cy="998854"/>
      </dsp:txXfrm>
    </dsp:sp>
    <dsp:sp modelId="{17E59EBC-7CF7-4128-886F-A01ABF47B50B}">
      <dsp:nvSpPr>
        <dsp:cNvPr id="0" name=""/>
        <dsp:cNvSpPr/>
      </dsp:nvSpPr>
      <dsp:spPr>
        <a:xfrm>
          <a:off x="1929663" y="4312741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8B4D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1929663" y="4400451"/>
        <a:ext cx="262422" cy="263129"/>
      </dsp:txXfrm>
    </dsp:sp>
    <dsp:sp modelId="{D07CA502-052B-456F-B53F-C19E2580F956}">
      <dsp:nvSpPr>
        <dsp:cNvPr id="0" name=""/>
        <dsp:cNvSpPr/>
      </dsp:nvSpPr>
      <dsp:spPr>
        <a:xfrm>
          <a:off x="2481386" y="4001512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Решение – изменение плана в случае изменении условий и ресурсов</a:t>
          </a:r>
        </a:p>
      </dsp:txBody>
      <dsp:txXfrm>
        <a:off x="2512462" y="4032588"/>
        <a:ext cx="1706192" cy="998854"/>
      </dsp:txXfrm>
    </dsp:sp>
    <dsp:sp modelId="{F79F1E6A-1C16-4CED-8845-24736516B5B1}">
      <dsp:nvSpPr>
        <dsp:cNvPr id="0" name=""/>
        <dsp:cNvSpPr/>
      </dsp:nvSpPr>
      <dsp:spPr>
        <a:xfrm>
          <a:off x="4405345" y="4312741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8B4D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4405345" y="4400451"/>
        <a:ext cx="262422" cy="263129"/>
      </dsp:txXfrm>
    </dsp:sp>
    <dsp:sp modelId="{DADE7F08-744D-4937-8034-B53DA6E96290}">
      <dsp:nvSpPr>
        <dsp:cNvPr id="0" name=""/>
        <dsp:cNvSpPr/>
      </dsp:nvSpPr>
      <dsp:spPr>
        <a:xfrm>
          <a:off x="4957069" y="4001512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Информирование общественности</a:t>
          </a:r>
        </a:p>
      </dsp:txBody>
      <dsp:txXfrm>
        <a:off x="4988145" y="4032588"/>
        <a:ext cx="1706192" cy="998854"/>
      </dsp:txXfrm>
    </dsp:sp>
    <dsp:sp modelId="{29BDC3B1-3C3A-460F-A680-C5CA390F1CDD}">
      <dsp:nvSpPr>
        <dsp:cNvPr id="0" name=""/>
        <dsp:cNvSpPr/>
      </dsp:nvSpPr>
      <dsp:spPr>
        <a:xfrm>
          <a:off x="6881028" y="4312741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8B4D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6881028" y="4400451"/>
        <a:ext cx="262422" cy="263129"/>
      </dsp:txXfrm>
    </dsp:sp>
    <dsp:sp modelId="{F98B755D-CC32-4CEF-93AD-AC12C2896C10}">
      <dsp:nvSpPr>
        <dsp:cNvPr id="0" name=""/>
        <dsp:cNvSpPr/>
      </dsp:nvSpPr>
      <dsp:spPr>
        <a:xfrm>
          <a:off x="7432751" y="4001512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Поддержка проекта</a:t>
          </a:r>
        </a:p>
      </dsp:txBody>
      <dsp:txXfrm>
        <a:off x="7463827" y="4032588"/>
        <a:ext cx="1706192" cy="998854"/>
      </dsp:txXfrm>
    </dsp:sp>
    <dsp:sp modelId="{D274B305-8C66-4826-8C29-23D6D325421D}">
      <dsp:nvSpPr>
        <dsp:cNvPr id="0" name=""/>
        <dsp:cNvSpPr/>
      </dsp:nvSpPr>
      <dsp:spPr>
        <a:xfrm>
          <a:off x="9356710" y="4312741"/>
          <a:ext cx="374889" cy="438549"/>
        </a:xfrm>
        <a:prstGeom prst="rightArrow">
          <a:avLst>
            <a:gd name="adj1" fmla="val 60000"/>
            <a:gd name="adj2" fmla="val 50000"/>
          </a:avLst>
        </a:prstGeom>
        <a:solidFill>
          <a:srgbClr val="8B4D8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9356710" y="4400451"/>
        <a:ext cx="262422" cy="263129"/>
      </dsp:txXfrm>
    </dsp:sp>
    <dsp:sp modelId="{BCE2A4C5-CAFB-4B0F-8731-B6F387CD1CDB}">
      <dsp:nvSpPr>
        <dsp:cNvPr id="0" name=""/>
        <dsp:cNvSpPr/>
      </dsp:nvSpPr>
      <dsp:spPr>
        <a:xfrm>
          <a:off x="9908434" y="4001512"/>
          <a:ext cx="1768344" cy="1061006"/>
        </a:xfrm>
        <a:prstGeom prst="roundRect">
          <a:avLst>
            <a:gd name="adj" fmla="val 10000"/>
          </a:avLst>
        </a:prstGeom>
        <a:solidFill>
          <a:srgbClr val="8B4D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Координирование проекта – новый этап</a:t>
          </a:r>
          <a:endParaRPr lang="en-US" sz="1300" kern="1200" dirty="0"/>
        </a:p>
      </dsp:txBody>
      <dsp:txXfrm>
        <a:off x="9939510" y="4032588"/>
        <a:ext cx="1706192" cy="99885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86EDF2-3686-421A-AE7A-03E819959FCC}">
      <dsp:nvSpPr>
        <dsp:cNvPr id="0" name=""/>
        <dsp:cNvSpPr/>
      </dsp:nvSpPr>
      <dsp:spPr>
        <a:xfrm rot="5400000">
          <a:off x="-295838" y="298490"/>
          <a:ext cx="1972258" cy="138058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Содержание образования</a:t>
          </a:r>
          <a:endParaRPr lang="en-US" sz="1700" kern="1200" dirty="0"/>
        </a:p>
      </dsp:txBody>
      <dsp:txXfrm rot="-5400000">
        <a:off x="1" y="692941"/>
        <a:ext cx="1380580" cy="591678"/>
      </dsp:txXfrm>
    </dsp:sp>
    <dsp:sp modelId="{19FC8E80-B373-47AE-BD92-AE29D2DD6255}">
      <dsp:nvSpPr>
        <dsp:cNvPr id="0" name=""/>
        <dsp:cNvSpPr/>
      </dsp:nvSpPr>
      <dsp:spPr>
        <a:xfrm rot="5400000">
          <a:off x="5710739" y="-4327507"/>
          <a:ext cx="1281967" cy="994228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Разработка  и анализ ОП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Анализ достаточности учебной литературы</a:t>
          </a:r>
          <a:endParaRPr lang="en-US" sz="1900" kern="1200" dirty="0"/>
        </a:p>
      </dsp:txBody>
      <dsp:txXfrm rot="-5400000">
        <a:off x="1380580" y="65232"/>
        <a:ext cx="9879706" cy="1156807"/>
      </dsp:txXfrm>
    </dsp:sp>
    <dsp:sp modelId="{4465D4B3-60EB-4438-B5D9-BCF0825C4BB4}">
      <dsp:nvSpPr>
        <dsp:cNvPr id="0" name=""/>
        <dsp:cNvSpPr/>
      </dsp:nvSpPr>
      <dsp:spPr>
        <a:xfrm rot="5400000">
          <a:off x="-295838" y="2080069"/>
          <a:ext cx="1972258" cy="1380580"/>
        </a:xfrm>
        <a:prstGeom prst="chevron">
          <a:avLst/>
        </a:prstGeom>
        <a:solidFill>
          <a:srgbClr val="C80E2D"/>
        </a:solidFill>
        <a:ln w="12700" cap="flat" cmpd="sng" algn="ctr">
          <a:solidFill>
            <a:schemeClr val="accent3">
              <a:hueOff val="1355300"/>
              <a:satOff val="50000"/>
              <a:lumOff val="-73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Работодатели</a:t>
          </a:r>
          <a:endParaRPr lang="en-US" sz="1700" kern="1200" dirty="0"/>
        </a:p>
      </dsp:txBody>
      <dsp:txXfrm rot="-5400000">
        <a:off x="1" y="2474520"/>
        <a:ext cx="1380580" cy="591678"/>
      </dsp:txXfrm>
    </dsp:sp>
    <dsp:sp modelId="{71999EE7-BB5F-4E71-9100-D1DDFEB27805}">
      <dsp:nvSpPr>
        <dsp:cNvPr id="0" name=""/>
        <dsp:cNvSpPr/>
      </dsp:nvSpPr>
      <dsp:spPr>
        <a:xfrm rot="5400000">
          <a:off x="5710739" y="-2545928"/>
          <a:ext cx="1281967" cy="994228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355300"/>
              <a:satOff val="50000"/>
              <a:lumOff val="-73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Модель выпускника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smtClean="0"/>
            <a:t>Результаты обучения</a:t>
          </a:r>
          <a:endParaRPr lang="en-US" sz="1900" kern="120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smtClean="0"/>
            <a:t>Разработка и проведение цикла встреч с практиками</a:t>
          </a:r>
          <a:endParaRPr lang="en-US" sz="1900" kern="1200"/>
        </a:p>
      </dsp:txBody>
      <dsp:txXfrm rot="-5400000">
        <a:off x="1380580" y="1846811"/>
        <a:ext cx="9879706" cy="1156807"/>
      </dsp:txXfrm>
    </dsp:sp>
    <dsp:sp modelId="{E2BD77D3-26DC-4C82-8308-6C972CB0DC2C}">
      <dsp:nvSpPr>
        <dsp:cNvPr id="0" name=""/>
        <dsp:cNvSpPr/>
      </dsp:nvSpPr>
      <dsp:spPr>
        <a:xfrm rot="5400000">
          <a:off x="-295838" y="3861648"/>
          <a:ext cx="1972258" cy="1380580"/>
        </a:xfrm>
        <a:prstGeom prst="chevron">
          <a:avLst/>
        </a:prstGeom>
        <a:solidFill>
          <a:srgbClr val="A2344E"/>
        </a:solidFill>
        <a:ln w="12700" cap="flat" cmpd="sng" algn="ctr">
          <a:solidFill>
            <a:schemeClr val="accent3">
              <a:hueOff val="2710599"/>
              <a:satOff val="100000"/>
              <a:lumOff val="-147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Исследования</a:t>
          </a:r>
          <a:endParaRPr lang="en-US" sz="1700" kern="1200" dirty="0"/>
        </a:p>
      </dsp:txBody>
      <dsp:txXfrm rot="-5400000">
        <a:off x="1" y="4256099"/>
        <a:ext cx="1380580" cy="591678"/>
      </dsp:txXfrm>
    </dsp:sp>
    <dsp:sp modelId="{1614E3F3-548E-4669-B4A3-C022971C3E4A}">
      <dsp:nvSpPr>
        <dsp:cNvPr id="0" name=""/>
        <dsp:cNvSpPr/>
      </dsp:nvSpPr>
      <dsp:spPr>
        <a:xfrm rot="5400000">
          <a:off x="5710739" y="-764349"/>
          <a:ext cx="1281967" cy="994228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2710599"/>
              <a:satOff val="100000"/>
              <a:lumOff val="-147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Институциональные исследования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Анализ процессов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Разработка методик преподавания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/>
            <a:t>Анализ тенденций рынка труда</a:t>
          </a:r>
          <a:endParaRPr lang="en-US" sz="1900" kern="1200" dirty="0"/>
        </a:p>
      </dsp:txBody>
      <dsp:txXfrm rot="-5400000">
        <a:off x="1380580" y="3628390"/>
        <a:ext cx="9879706" cy="11568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70106F-CAFF-4EBE-9BD3-2CDA9E73A7E7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9B48AD-53F4-421B-8D24-168FB2B8176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8159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12CDE7-2B53-42B7-A9AC-0E02529201BD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26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-93663" y="515938"/>
            <a:ext cx="7340601" cy="41290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1072484" y="4982092"/>
            <a:ext cx="5004926" cy="245828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542714" y="10114321"/>
            <a:ext cx="64466" cy="153643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000" b="0">
                <a:latin typeface="Times New Roman"/>
              </a:defRPr>
            </a:lvl1pPr>
          </a:lstStyle>
          <a:p>
            <a:pPr defTabSz="914072">
              <a:defRPr/>
            </a:pPr>
            <a:fld id="{2738C204-3030-4AA4-AD0F-8838FEF47940}" type="slidenum">
              <a:rPr lang="en-US">
                <a:solidFill>
                  <a:srgbClr val="000000"/>
                </a:solidFill>
              </a:rPr>
              <a:pPr defTabSz="914072">
                <a:defRPr/>
              </a:pPr>
              <a:t>1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853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EF70457-7B06-40B5-A148-4F6269E13C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5931B68F-515D-471E-BE3E-309F1BE231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C021495-8865-4B54-A071-34BB51697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0851232-FC31-4241-BD58-F9B5ADDCF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C2896230-244C-47C8-8056-9829CEBCF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668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F41A807-F212-455A-B628-AC53ED29A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75727FDD-0147-48CA-A821-6F6B07DC1B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81DA457-5C91-48FC-B69C-BF189E1B0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5744F79-F96B-4331-A658-FB507945F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1C751E93-EDD5-4386-9EEC-454851C7E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3962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F18A7240-5E5C-40D7-AFEF-198624BB12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F566127C-7AC8-45F8-999A-B70BF268C1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4E9F00A-6B6E-44EC-84D0-3930913D1A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C4CAB29-8C39-48DE-B461-B2231B222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5541F49-5831-4D97-8348-87D663655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039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6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51C9F8-CD44-49B3-9349-45FE6EA60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6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215979" cy="161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78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33261" y="190011"/>
            <a:ext cx="11725484" cy="2983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788635" y="6647427"/>
            <a:ext cx="107402" cy="1116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72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72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93939"/>
            <a:endParaRPr lang="ru-RU" sz="72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702506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DDA06D3-373A-42E5-8480-06A599533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CA917FB-CDEB-45FB-AFA1-58F0521B9D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F192C267-A6E4-4229-B38D-8225FDDE9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C7EDDA5B-7133-4E10-B795-02FE7CAE1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FD009A6-6CFA-44B0-A6AF-1D25B8024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8771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EE7905E-FFCD-4564-BE74-47B1F7A3D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BCA8019D-0D78-40F5-980D-BCBBCDCA1F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83529E7-790D-4743-A583-EAA5EB15E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F813FD2-4C77-4F92-83CB-D60B2D376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FB74BC1-3301-41F8-A2D1-692D5AD16C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29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E64346B-76C9-4C1E-9E8B-AA88E5A01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78F416CB-9711-42AB-BA89-2CED2D5AF6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11FD1F93-4237-4DA7-B819-B0D5425891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059BEF99-121A-4C3E-BC15-490613AC5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CE44D34D-26F1-4E0E-B668-08805EC8A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FF0A9B12-1E42-459E-A163-C9A5788CA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7458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83FCF26-727E-4444-8905-A0D91DF9C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4B853B41-FB42-4C97-87C3-179D75F1BB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9461D0EB-CE6B-4742-9201-3E723F52BC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1C940BAF-2894-4EC0-9151-E630F5C6FB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850100E4-77B9-453C-A1EE-C5D0001FA5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08457896-12F4-4203-82A8-3DE646EBE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9E17900C-E4F8-444B-B1B8-089B69343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BFF1D3E1-279F-444B-B55E-24A8A770B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397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2BC572E-51D5-479E-9FBB-AFA229BD7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A69F83BA-F71A-4641-B8EF-262FE43B5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C51F3DF4-A793-4F34-B02D-4E6A28686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DD72B09B-7DF7-4D5A-B9FC-05ADD5C40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899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66B7AC79-E1FB-42F9-8B0C-8685EE5185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2E66225A-35CF-41DC-B1E6-42E9DA923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0F16212-2B0A-481B-8E82-4A87229E9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3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BC2F197-0C7D-4112-8489-4F1BFB970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2B89AA9C-4D85-42A7-8B86-9BE064CAE9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197DE521-4829-4C9E-82A1-263CD8FE51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E84F2B99-AF94-4C37-93B3-EEFAD90FA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4535D7E-3067-4B79-A566-0416298E1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793F0A11-39A3-4404-B723-CA17ED548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680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F66E0FF-5958-43E8-BF65-D7C80FED1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38CEF842-B812-4C93-9268-4CADB9FFC92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CA687774-70B8-4ACC-BCC3-66E1805C4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68333500-5653-45B8-8688-7A09083CE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584FA31-6C0A-4A2C-85C8-6D41E2487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ACB143E5-B68B-492A-93A2-F82BB0010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00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234AC1D-91D7-45F2-8174-55B5D9242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8A0E3A43-EF89-47B0-AC60-97CE4316D5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72847F0-1EFF-4552-AB01-1CD2D98EF0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F6867E-22EE-4B01-B3C6-65CE1327E319}" type="datetimeFigureOut">
              <a:rPr lang="ru-RU" smtClean="0"/>
              <a:t>04.1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7F76055-019E-4A1A-AE80-37349974FD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6DBD0F90-9207-4731-81D3-BCCD46272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09C15-AFE4-4E9D-B4A7-A810814F5B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920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4.em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6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5.emf"/><Relationship Id="rId2" Type="http://schemas.openxmlformats.org/officeDocument/2006/relationships/tags" Target="../tags/tag2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5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3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2.xml"/><Relationship Id="rId12" Type="http://schemas.openxmlformats.org/officeDocument/2006/relationships/chart" Target="../charts/char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chart" Target="../charts/chart1.xml"/><Relationship Id="rId5" Type="http://schemas.openxmlformats.org/officeDocument/2006/relationships/tags" Target="../tags/tag38.xml"/><Relationship Id="rId10" Type="http://schemas.openxmlformats.org/officeDocument/2006/relationships/image" Target="../media/image6.emf"/><Relationship Id="rId4" Type="http://schemas.openxmlformats.org/officeDocument/2006/relationships/tags" Target="../tags/tag37.xml"/><Relationship Id="rId9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umo.rums.med@gmail.com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2852" y="2014923"/>
            <a:ext cx="10946296" cy="2638863"/>
          </a:xfrm>
          <a:solidFill>
            <a:schemeClr val="bg1">
              <a:alpha val="55000"/>
            </a:schemeClr>
          </a:solidFill>
          <a:ln>
            <a:noFill/>
          </a:ln>
          <a:effectLst>
            <a:softEdge rad="127000"/>
          </a:effectLst>
        </p:spPr>
        <p:txBody>
          <a:bodyPr>
            <a:normAutofit fontScale="90000"/>
          </a:bodyPr>
          <a:lstStyle/>
          <a:p>
            <a:pPr lvl="0"/>
            <a:r>
              <a:rPr lang="ru-RU" sz="4400" b="1" dirty="0" smtClean="0">
                <a:ln>
                  <a:solidFill>
                    <a:srgbClr val="8B4D80"/>
                  </a:solidFill>
                </a:ln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еятельность</a:t>
            </a:r>
            <a:r>
              <a:rPr lang="ru-RU" sz="4400" b="1" dirty="0">
                <a:ln>
                  <a:solidFill>
                    <a:srgbClr val="8B4D80"/>
                  </a:solidFill>
                </a:ln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4400" b="1" dirty="0">
                <a:ln>
                  <a:solidFill>
                    <a:srgbClr val="8B4D80"/>
                  </a:solidFill>
                </a:ln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4400" b="1" dirty="0">
                <a:ln>
                  <a:solidFill>
                    <a:srgbClr val="8B4D80"/>
                  </a:solidFill>
                </a:ln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чебно-методического объединения в </a:t>
            </a:r>
            <a:r>
              <a:rPr lang="ru-RU" sz="4400" b="1" dirty="0" smtClean="0">
                <a:ln>
                  <a:solidFill>
                    <a:srgbClr val="8B4D80"/>
                  </a:solidFill>
                </a:ln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мках формата</a:t>
            </a:r>
            <a:r>
              <a:rPr lang="ru-RU" sz="4400" b="1" dirty="0">
                <a:ln>
                  <a:solidFill>
                    <a:srgbClr val="8B4D80"/>
                  </a:solidFill>
                </a:ln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4400" b="1" dirty="0">
                <a:ln>
                  <a:solidFill>
                    <a:srgbClr val="8B4D80"/>
                  </a:solidFill>
                </a:ln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4400" b="1" dirty="0">
                <a:ln>
                  <a:solidFill>
                    <a:srgbClr val="8B4D80"/>
                  </a:solidFill>
                </a:ln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руппы управления проектами</a:t>
            </a:r>
            <a:r>
              <a:rPr lang="ru-RU" sz="4000" b="1" dirty="0">
                <a:ln>
                  <a:solidFill>
                    <a:srgbClr val="8B4D80"/>
                  </a:solidFill>
                </a:ln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4000" b="1" dirty="0">
                <a:ln>
                  <a:solidFill>
                    <a:srgbClr val="8B4D80"/>
                  </a:solidFill>
                </a:ln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3100" b="1" dirty="0">
              <a:ln>
                <a:solidFill>
                  <a:srgbClr val="8B4D80"/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F9A059FC-3D5D-49F3-B0C0-253A8E359618}"/>
              </a:ext>
            </a:extLst>
          </p:cNvPr>
          <p:cNvSpPr/>
          <p:nvPr/>
        </p:nvSpPr>
        <p:spPr>
          <a:xfrm>
            <a:off x="2140856" y="5929296"/>
            <a:ext cx="7605486" cy="430887"/>
          </a:xfrm>
          <a:prstGeom prst="rect">
            <a:avLst/>
          </a:prstGeom>
          <a:solidFill>
            <a:schemeClr val="bg1">
              <a:alpha val="50000"/>
            </a:schemeClr>
          </a:solidFill>
          <a:effectLst>
            <a:softEdge rad="127000"/>
          </a:effectLst>
        </p:spPr>
        <p:txBody>
          <a:bodyPr wrap="square">
            <a:spAutoFit/>
          </a:bodyPr>
          <a:lstStyle/>
          <a:p>
            <a:pPr algn="ctr"/>
            <a:r>
              <a:rPr lang="kk-KZ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Алматы, 6.12.2019 </a:t>
            </a:r>
            <a:r>
              <a:rPr lang="kk-KZ" sz="2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.</a:t>
            </a:r>
          </a:p>
        </p:txBody>
      </p:sp>
      <p:sp>
        <p:nvSpPr>
          <p:cNvPr id="6" name="Прямоугольный треугольник 5"/>
          <p:cNvSpPr/>
          <p:nvPr/>
        </p:nvSpPr>
        <p:spPr>
          <a:xfrm flipV="1">
            <a:off x="0" y="0"/>
            <a:ext cx="12192000" cy="2292371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ый треугольник 4"/>
          <p:cNvSpPr/>
          <p:nvPr/>
        </p:nvSpPr>
        <p:spPr>
          <a:xfrm flipV="1">
            <a:off x="0" y="-1"/>
            <a:ext cx="10236672" cy="2292372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 flipV="1">
            <a:off x="0" y="0"/>
            <a:ext cx="7137779" cy="2096814"/>
          </a:xfrm>
          <a:prstGeom prst="rtTriangle">
            <a:avLst/>
          </a:prstGeom>
          <a:solidFill>
            <a:srgbClr val="8B4D80"/>
          </a:solidFill>
          <a:ln>
            <a:solidFill>
              <a:srgbClr val="8B4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98EF086C-CAC4-4383-A8EE-D1B28A7B901D}"/>
              </a:ext>
            </a:extLst>
          </p:cNvPr>
          <p:cNvSpPr/>
          <p:nvPr/>
        </p:nvSpPr>
        <p:spPr>
          <a:xfrm>
            <a:off x="1146274" y="80970"/>
            <a:ext cx="376692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DBBE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Calibri" panose="020F0502020204030204" pitchFamily="34" charset="0"/>
              </a:rPr>
              <a:t>НАО «Казахский </a:t>
            </a:r>
            <a:r>
              <a:rPr lang="ru-RU" b="1" dirty="0">
                <a:solidFill>
                  <a:srgbClr val="DBBE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Calibri" panose="020F0502020204030204" pitchFamily="34" charset="0"/>
              </a:rPr>
              <a:t>Национальный Медицинский Университет имени С.Д. </a:t>
            </a:r>
            <a:r>
              <a:rPr lang="ru-RU" b="1" dirty="0" err="1" smtClean="0">
                <a:solidFill>
                  <a:srgbClr val="DBBE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Calibri" panose="020F0502020204030204" pitchFamily="34" charset="0"/>
              </a:rPr>
              <a:t>Асфендиярова</a:t>
            </a:r>
            <a:r>
              <a:rPr lang="ru-RU" b="1" dirty="0" smtClean="0">
                <a:solidFill>
                  <a:srgbClr val="DBBE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Calibri" panose="020F0502020204030204" pitchFamily="34" charset="0"/>
              </a:rPr>
              <a:t>»</a:t>
            </a:r>
            <a:endParaRPr lang="ru-RU" b="1" i="0" dirty="0">
              <a:solidFill>
                <a:srgbClr val="DBBE5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1026" name="Picture 2" descr="D:\загрузки\логотип КазНМУ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13" y="72908"/>
            <a:ext cx="980661" cy="9806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785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672458" y="295271"/>
            <a:ext cx="1005840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cs typeface="Arial" pitchFamily="34" charset="0"/>
              </a:rPr>
              <a:t>Форма обратной связи </a:t>
            </a:r>
            <a:endParaRPr lang="ru-RU" dirty="0">
              <a:cs typeface="Arial" pitchFamily="34" charset="0"/>
            </a:endParaRPr>
          </a:p>
          <a:p>
            <a:pPr algn="ctr"/>
            <a:r>
              <a:rPr lang="ru-RU" b="1" dirty="0">
                <a:cs typeface="Arial" pitchFamily="34" charset="0"/>
              </a:rPr>
              <a:t>по исполнению меры в рамках реализации </a:t>
            </a:r>
            <a:r>
              <a:rPr lang="ru-RU" b="1" dirty="0" smtClean="0">
                <a:cs typeface="Arial" pitchFamily="34" charset="0"/>
              </a:rPr>
              <a:t> проектов</a:t>
            </a:r>
            <a:endParaRPr lang="ru-RU" dirty="0">
              <a:cs typeface="Arial" pitchFamily="34" charset="0"/>
            </a:endParaRPr>
          </a:p>
          <a:p>
            <a:r>
              <a:rPr lang="ru-RU" b="1" dirty="0" smtClean="0">
                <a:cs typeface="Arial" pitchFamily="34" charset="0"/>
              </a:rPr>
              <a:t>Направление:</a:t>
            </a:r>
            <a:endParaRPr lang="ru-RU" dirty="0">
              <a:cs typeface="Arial" pitchFamily="34" charset="0"/>
            </a:endParaRPr>
          </a:p>
          <a:p>
            <a:pPr lvl="0"/>
            <a:r>
              <a:rPr lang="ru-RU" b="1" dirty="0">
                <a:cs typeface="Arial" pitchFamily="34" charset="0"/>
              </a:rPr>
              <a:t>Блок:</a:t>
            </a:r>
            <a:r>
              <a:rPr lang="ru-RU" dirty="0">
                <a:cs typeface="Arial" pitchFamily="34" charset="0"/>
              </a:rPr>
              <a:t> Высшее образование</a:t>
            </a:r>
          </a:p>
          <a:p>
            <a:pPr lvl="0"/>
            <a:r>
              <a:rPr lang="ru-RU" b="1" dirty="0">
                <a:cs typeface="Arial" pitchFamily="34" charset="0"/>
              </a:rPr>
              <a:t>Наименование меры:</a:t>
            </a:r>
            <a:r>
              <a:rPr lang="ru-RU" dirty="0">
                <a:cs typeface="Arial" pitchFamily="34" charset="0"/>
              </a:rPr>
              <a:t> __________________________</a:t>
            </a:r>
          </a:p>
          <a:p>
            <a:pPr lvl="0"/>
            <a:r>
              <a:rPr lang="ru-RU" b="1" dirty="0">
                <a:cs typeface="Arial" pitchFamily="34" charset="0"/>
              </a:rPr>
              <a:t>Цель (КПЭ):</a:t>
            </a:r>
            <a:r>
              <a:rPr lang="ru-RU" dirty="0">
                <a:cs typeface="Arial" pitchFamily="34" charset="0"/>
              </a:rPr>
              <a:t> __________________________</a:t>
            </a:r>
          </a:p>
          <a:p>
            <a:pPr lvl="0"/>
            <a:r>
              <a:rPr lang="ru-RU" b="1" dirty="0">
                <a:cs typeface="Arial" pitchFamily="34" charset="0"/>
              </a:rPr>
              <a:t>Период реализации:</a:t>
            </a:r>
            <a:r>
              <a:rPr lang="ru-RU" dirty="0">
                <a:cs typeface="Arial" pitchFamily="34" charset="0"/>
              </a:rPr>
              <a:t> ____________________</a:t>
            </a:r>
          </a:p>
          <a:p>
            <a:pPr lvl="0"/>
            <a:r>
              <a:rPr lang="ru-RU" b="1" dirty="0">
                <a:cs typeface="Arial" pitchFamily="34" charset="0"/>
              </a:rPr>
              <a:t>Ответственное лицо</a:t>
            </a:r>
            <a:r>
              <a:rPr lang="ru-RU" dirty="0">
                <a:cs typeface="Arial" pitchFamily="34" charset="0"/>
              </a:rPr>
              <a:t>: _________________________</a:t>
            </a:r>
          </a:p>
          <a:p>
            <a:pPr lvl="0"/>
            <a:r>
              <a:rPr lang="ru-RU" b="1" dirty="0">
                <a:cs typeface="Arial" pitchFamily="34" charset="0"/>
              </a:rPr>
              <a:t>Совершенные действия</a:t>
            </a:r>
            <a:r>
              <a:rPr lang="ru-RU" dirty="0" smtClean="0">
                <a:cs typeface="Arial" pitchFamily="34" charset="0"/>
              </a:rPr>
              <a:t>:</a:t>
            </a:r>
          </a:p>
          <a:p>
            <a:pPr lvl="0"/>
            <a:endParaRPr lang="ru-RU" dirty="0">
              <a:cs typeface="Arial" pitchFamily="34" charset="0"/>
            </a:endParaRPr>
          </a:p>
          <a:p>
            <a:pPr lvl="0"/>
            <a:endParaRPr lang="ru-RU" dirty="0">
              <a:cs typeface="Arial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1577252" y="2871609"/>
          <a:ext cx="10308111" cy="157734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4904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7916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02598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955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№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Наименование действия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Описание*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(как совершенное Вами действие повлияло на достижение цели)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1843"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800" dirty="0" smtClean="0">
                          <a:effectLst/>
                        </a:rPr>
                        <a:t>1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1843"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800" dirty="0" smtClean="0">
                          <a:effectLst/>
                        </a:rPr>
                        <a:t>2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528687" y="4404339"/>
            <a:ext cx="102378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cs typeface="Arial" pitchFamily="34" charset="0"/>
              </a:rPr>
              <a:t>* - </a:t>
            </a:r>
            <a:r>
              <a:rPr lang="ru-RU" i="1" dirty="0">
                <a:cs typeface="Arial" pitchFamily="34" charset="0"/>
              </a:rPr>
              <a:t>детально и лаконично описать совершенные действия по реализации меры и достижению </a:t>
            </a:r>
            <a:r>
              <a:rPr lang="ru-RU" i="1" dirty="0" smtClean="0">
                <a:cs typeface="Arial" pitchFamily="34" charset="0"/>
              </a:rPr>
              <a:t>цели</a:t>
            </a:r>
            <a:r>
              <a:rPr lang="ru-RU" dirty="0">
                <a:cs typeface="Arial" pitchFamily="34" charset="0"/>
              </a:rPr>
              <a:t> </a:t>
            </a:r>
          </a:p>
          <a:p>
            <a:pPr lvl="0" algn="ctr"/>
            <a:r>
              <a:rPr lang="ru-RU" b="1" dirty="0">
                <a:cs typeface="Arial" pitchFamily="34" charset="0"/>
              </a:rPr>
              <a:t>Вопросы требующие рассмотрения и обсуждения на уровне </a:t>
            </a:r>
            <a:r>
              <a:rPr lang="ru-RU" b="1" dirty="0" smtClean="0">
                <a:cs typeface="Arial" pitchFamily="34" charset="0"/>
              </a:rPr>
              <a:t>УМО</a:t>
            </a:r>
            <a:endParaRPr lang="ru-RU" dirty="0"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1567198" y="5481222"/>
          <a:ext cx="10160872" cy="630936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4834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7375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93991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3184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№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Содержание вопроса*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Предлагаемые пути решения*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1843"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800" dirty="0" smtClean="0">
                          <a:effectLst/>
                        </a:rPr>
                        <a:t>1</a:t>
                      </a: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1528687" y="6061923"/>
            <a:ext cx="102190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cs typeface="Arial" pitchFamily="34" charset="0"/>
              </a:rPr>
              <a:t>* - </a:t>
            </a:r>
            <a:r>
              <a:rPr lang="ru-RU" i="1" dirty="0">
                <a:cs typeface="Arial" pitchFamily="34" charset="0"/>
              </a:rPr>
              <a:t>детально и лаконично описать содержание вопроса и предложить алгоритм его решения</a:t>
            </a:r>
            <a:endParaRPr lang="ru-RU" dirty="0">
              <a:cs typeface="Arial" pitchFamily="34" charset="0"/>
            </a:endParaRPr>
          </a:p>
        </p:txBody>
      </p:sp>
      <p:sp>
        <p:nvSpPr>
          <p:cNvPr id="12" name="Прямоугольный треугольник 11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ый треугольник 12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777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ый треугольник 12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2187705929"/>
              </p:ext>
            </p:extLst>
          </p:nvPr>
        </p:nvGraphicFramePr>
        <p:xfrm>
          <a:off x="536084" y="1317280"/>
          <a:ext cx="11322867" cy="55407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Заголовок 4"/>
          <p:cNvSpPr txBox="1">
            <a:spLocks/>
          </p:cNvSpPr>
          <p:nvPr/>
        </p:nvSpPr>
        <p:spPr>
          <a:xfrm>
            <a:off x="2224757" y="460957"/>
            <a:ext cx="9634194" cy="395365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733" b="1" dirty="0" smtClean="0">
                <a:solidFill>
                  <a:srgbClr val="8B4D80"/>
                </a:solidFill>
                <a:latin typeface="+mn-lt"/>
              </a:rPr>
              <a:t>Какие проекты могут быть в проектном офисе УМО?</a:t>
            </a:r>
            <a:endParaRPr lang="en-US" sz="3733" b="1" dirty="0">
              <a:solidFill>
                <a:srgbClr val="8B4D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32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ый треугольник 58"/>
          <p:cNvSpPr/>
          <p:nvPr/>
        </p:nvSpPr>
        <p:spPr>
          <a:xfrm flipV="1">
            <a:off x="1" y="-4"/>
            <a:ext cx="2137471" cy="983423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80" name="Object 27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460447" y="1621"/>
          <a:ext cx="1287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17" imgW="530" imgH="528" progId="TCLayout.ActiveDocument.1">
                  <p:embed/>
                </p:oleObj>
              </mc:Choice>
              <mc:Fallback>
                <p:oleObj name="think-cell Slide" r:id="rId17" imgW="530" imgH="528" progId="TCLayout.ActiveDocument.1">
                  <p:embed/>
                  <p:pic>
                    <p:nvPicPr>
                      <p:cNvPr id="280" name="Object 279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460447" y="1621"/>
                        <a:ext cx="1287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0" name="Rectangle 289" hidden="1"/>
          <p:cNvSpPr/>
          <p:nvPr>
            <p:custDataLst>
              <p:tags r:id="rId3"/>
            </p:custDataLst>
          </p:nvPr>
        </p:nvSpPr>
        <p:spPr bwMode="auto">
          <a:xfrm>
            <a:off x="2459157" y="1"/>
            <a:ext cx="128852" cy="161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ru-RU" sz="1678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60" name="Round Same Side Corner Rectangle 159"/>
          <p:cNvSpPr>
            <a:spLocks/>
          </p:cNvSpPr>
          <p:nvPr/>
        </p:nvSpPr>
        <p:spPr>
          <a:xfrm rot="16200000">
            <a:off x="6038464" y="668869"/>
            <a:ext cx="579279" cy="391732"/>
          </a:xfrm>
          <a:prstGeom prst="round2SameRect">
            <a:avLst/>
          </a:prstGeom>
          <a:solidFill>
            <a:srgbClr val="DDF4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1718" rIns="0" bIns="41718" rtlCol="0" anchor="ctr">
            <a:noAutofit/>
          </a:bodyPr>
          <a:lstStyle/>
          <a:p>
            <a:pPr algn="ctr"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b="1" dirty="0" err="1">
                <a:solidFill>
                  <a:srgbClr val="0070CE"/>
                </a:solidFill>
                <a:latin typeface="Segoe UI Light"/>
                <a:ea typeface="ＭＳ Ｐゴシック"/>
              </a:rPr>
              <a:t>Ответс</a:t>
            </a:r>
            <a:r>
              <a:rPr lang="ru-RU" sz="907" b="1" dirty="0">
                <a:solidFill>
                  <a:srgbClr val="0070CE"/>
                </a:solidFill>
                <a:latin typeface="Segoe UI Light"/>
                <a:ea typeface="ＭＳ Ｐゴシック"/>
              </a:rPr>
              <a:t>-</a:t>
            </a:r>
          </a:p>
          <a:p>
            <a:pPr algn="ctr"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b="1" dirty="0" err="1">
                <a:solidFill>
                  <a:srgbClr val="0070CE"/>
                </a:solidFill>
                <a:latin typeface="Segoe UI Light"/>
                <a:ea typeface="ＭＳ Ｐゴシック"/>
              </a:rPr>
              <a:t>твенные</a:t>
            </a:r>
            <a:endParaRPr lang="en-US" sz="907" b="1" dirty="0">
              <a:solidFill>
                <a:srgbClr val="0070CE"/>
              </a:solidFill>
              <a:latin typeface="Segoe UI Light"/>
              <a:ea typeface="ＭＳ Ｐゴシック"/>
            </a:endParaRPr>
          </a:p>
        </p:txBody>
      </p:sp>
      <p:sp>
        <p:nvSpPr>
          <p:cNvPr id="166" name="Rectangle 7"/>
          <p:cNvSpPr>
            <a:spLocks noChangeArrowheads="1"/>
          </p:cNvSpPr>
          <p:nvPr/>
        </p:nvSpPr>
        <p:spPr bwMode="gray">
          <a:xfrm>
            <a:off x="6523243" y="575633"/>
            <a:ext cx="4137710" cy="579841"/>
          </a:xfrm>
          <a:prstGeom prst="rect">
            <a:avLst/>
          </a:prstGeom>
          <a:solidFill>
            <a:srgbClr val="ECFAF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40543" tIns="52981" rIns="40543" bIns="52981" anchor="ctr">
            <a:no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7" b="1" dirty="0">
              <a:solidFill>
                <a:srgbClr val="000000"/>
              </a:solidFill>
              <a:latin typeface="Segoe UI Light"/>
              <a:ea typeface="MS PGothic" pitchFamily="34" charset="-128"/>
            </a:endParaRPr>
          </a:p>
        </p:txBody>
      </p:sp>
      <p:sp>
        <p:nvSpPr>
          <p:cNvPr id="167" name="Rectangle 6"/>
          <p:cNvSpPr txBox="1">
            <a:spLocks/>
          </p:cNvSpPr>
          <p:nvPr/>
        </p:nvSpPr>
        <p:spPr>
          <a:xfrm>
            <a:off x="6581490" y="585814"/>
            <a:ext cx="3638878" cy="294679"/>
          </a:xfrm>
          <a:prstGeom prst="rect">
            <a:avLst/>
          </a:prstGeom>
          <a:extLst/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00" baseline="0">
                <a:solidFill>
                  <a:schemeClr val="accent3"/>
                </a:solidFill>
                <a:latin typeface="+mn-lt"/>
                <a:ea typeface="MS PGothic" pitchFamily="34" charset="-128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r>
              <a:rPr lang="x-none" sz="907" b="1" dirty="0">
                <a:solidFill>
                  <a:srgbClr val="0070CE"/>
                </a:solidFill>
                <a:latin typeface="Segoe UI Light"/>
              </a:rPr>
              <a:t>Главный исполнитель</a:t>
            </a:r>
            <a:r>
              <a:rPr lang="en-US" sz="907" b="1" dirty="0">
                <a:solidFill>
                  <a:srgbClr val="0070CE"/>
                </a:solidFill>
                <a:latin typeface="Segoe UI Light"/>
              </a:rPr>
              <a:t>:  </a:t>
            </a:r>
            <a:r>
              <a:rPr lang="ru-RU" sz="907" dirty="0">
                <a:solidFill>
                  <a:schemeClr val="tx1"/>
                </a:solidFill>
                <a:latin typeface="Segoe UI Light"/>
              </a:rPr>
              <a:t>МОН – </a:t>
            </a:r>
            <a:r>
              <a:rPr lang="ru-RU" sz="907" dirty="0" err="1">
                <a:solidFill>
                  <a:schemeClr val="tx1"/>
                </a:solidFill>
                <a:latin typeface="Segoe UI Light"/>
              </a:rPr>
              <a:t>Жакыпова</a:t>
            </a:r>
            <a:r>
              <a:rPr lang="ru-RU" sz="907" dirty="0">
                <a:solidFill>
                  <a:schemeClr val="tx1"/>
                </a:solidFill>
                <a:latin typeface="Segoe UI Light"/>
              </a:rPr>
              <a:t> Ф.Н.</a:t>
            </a:r>
            <a:endParaRPr lang="en-US" sz="907" dirty="0">
              <a:solidFill>
                <a:schemeClr val="tx1"/>
              </a:solidFill>
              <a:latin typeface="Segoe UI Light"/>
            </a:endParaRPr>
          </a:p>
        </p:txBody>
      </p:sp>
      <p:sp>
        <p:nvSpPr>
          <p:cNvPr id="168" name="Rectangle 6"/>
          <p:cNvSpPr txBox="1">
            <a:spLocks/>
          </p:cNvSpPr>
          <p:nvPr/>
        </p:nvSpPr>
        <p:spPr>
          <a:xfrm>
            <a:off x="6581489" y="913625"/>
            <a:ext cx="4027804" cy="139590"/>
          </a:xfrm>
          <a:prstGeom prst="rect">
            <a:avLst/>
          </a:prstGeom>
          <a:extLst/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00" baseline="0">
                <a:solidFill>
                  <a:schemeClr val="accent3"/>
                </a:solidFill>
                <a:latin typeface="+mn-lt"/>
                <a:ea typeface="MS PGothic" pitchFamily="34" charset="-128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70CE"/>
              </a:buClr>
              <a:defRPr/>
            </a:pPr>
            <a:r>
              <a:rPr lang="x-none" sz="907" b="1" dirty="0">
                <a:solidFill>
                  <a:srgbClr val="0070CE"/>
                </a:solidFill>
              </a:rPr>
              <a:t>Со-исполнитель</a:t>
            </a:r>
            <a:r>
              <a:rPr lang="en-US" sz="907" b="1" dirty="0">
                <a:solidFill>
                  <a:srgbClr val="0070CE"/>
                </a:solidFill>
              </a:rPr>
              <a:t>: </a:t>
            </a:r>
            <a:r>
              <a:rPr lang="ru-RU" sz="907" dirty="0">
                <a:solidFill>
                  <a:schemeClr val="tx1"/>
                </a:solidFill>
              </a:rPr>
              <a:t>АО «ЦМП», АО «</a:t>
            </a:r>
            <a:r>
              <a:rPr lang="ru-RU" sz="907" dirty="0" err="1">
                <a:solidFill>
                  <a:schemeClr val="tx1"/>
                </a:solidFill>
              </a:rPr>
              <a:t>ЦБПиАМ</a:t>
            </a:r>
            <a:r>
              <a:rPr lang="ru-RU" sz="907" dirty="0">
                <a:solidFill>
                  <a:schemeClr val="tx1"/>
                </a:solidFill>
              </a:rPr>
              <a:t>», </a:t>
            </a:r>
            <a:r>
              <a:rPr lang="ru-RU" sz="907" dirty="0">
                <a:solidFill>
                  <a:srgbClr val="000000"/>
                </a:solidFill>
                <a:ea typeface="ＭＳ Ｐゴシック"/>
              </a:rPr>
              <a:t>МНЭ, МФ</a:t>
            </a:r>
            <a:endParaRPr lang="en-US" sz="907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3" name="sticker">
            <a:extLst>
              <a:ext uri="{FF2B5EF4-FFF2-40B4-BE49-F238E27FC236}">
                <a16:creationId xmlns:a16="http://schemas.microsoft.com/office/drawing/2014/main" xmlns="" id="{FAC3EEB4-7C56-425E-A186-EC48C0B2D2DE}"/>
              </a:ext>
            </a:extLst>
          </p:cNvPr>
          <p:cNvGrpSpPr/>
          <p:nvPr/>
        </p:nvGrpSpPr>
        <p:grpSpPr>
          <a:xfrm>
            <a:off x="9955404" y="206958"/>
            <a:ext cx="804445" cy="124259"/>
            <a:chOff x="8210628" y="250848"/>
            <a:chExt cx="758427" cy="93195"/>
          </a:xfrm>
        </p:grpSpPr>
        <p:sp>
          <p:nvSpPr>
            <p:cNvPr id="122" name="StickerRectangle">
              <a:extLst>
                <a:ext uri="{FF2B5EF4-FFF2-40B4-BE49-F238E27FC236}">
                  <a16:creationId xmlns:a16="http://schemas.microsoft.com/office/drawing/2014/main" xmlns="" id="{3E5E6EBA-AFF3-4AF0-B6DC-14BD2B291E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10628" y="250848"/>
              <a:ext cx="758427" cy="931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2440" tIns="0" rIns="0" bIns="12440">
              <a:spAutoFit/>
            </a:bodyPr>
            <a:lstStyle/>
            <a:p>
              <a:pPr algn="r" defTabSz="79393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726" dirty="0">
                  <a:solidFill>
                    <a:srgbClr val="808080"/>
                  </a:solidFill>
                  <a:latin typeface="Segoe UI Light"/>
                  <a:ea typeface="ＭＳ Ｐゴシック"/>
                </a:rPr>
                <a:t>ИЛЛЮСТРАТИВНО</a:t>
              </a:r>
            </a:p>
          </p:txBody>
        </p:sp>
        <p:cxnSp>
          <p:nvCxnSpPr>
            <p:cNvPr id="123" name="AutoShape 31">
              <a:extLst>
                <a:ext uri="{FF2B5EF4-FFF2-40B4-BE49-F238E27FC236}">
                  <a16:creationId xmlns:a16="http://schemas.microsoft.com/office/drawing/2014/main" xmlns="" id="{59C4D049-70F9-4DCF-8968-61EA615AB176}"/>
                </a:ext>
              </a:extLst>
            </p:cNvPr>
            <p:cNvCxnSpPr>
              <a:cxnSpLocks noChangeShapeType="1"/>
              <a:stCxn id="122" idx="2"/>
              <a:endCxn id="122" idx="4"/>
            </p:cNvCxnSpPr>
            <p:nvPr/>
          </p:nvCxnSpPr>
          <p:spPr bwMode="gray">
            <a:xfrm>
              <a:off x="8212215" y="250848"/>
              <a:ext cx="0" cy="9316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4" name="AutoShape 32">
              <a:extLst>
                <a:ext uri="{FF2B5EF4-FFF2-40B4-BE49-F238E27FC236}">
                  <a16:creationId xmlns:a16="http://schemas.microsoft.com/office/drawing/2014/main" xmlns="" id="{C5DB6D34-77AE-4998-AE9E-6F34B3DEAEEC}"/>
                </a:ext>
              </a:extLst>
            </p:cNvPr>
            <p:cNvCxnSpPr>
              <a:cxnSpLocks noChangeShapeType="1"/>
              <a:stCxn id="122" idx="4"/>
              <a:endCxn id="122" idx="6"/>
            </p:cNvCxnSpPr>
            <p:nvPr/>
          </p:nvCxnSpPr>
          <p:spPr bwMode="gray">
            <a:xfrm>
              <a:off x="8212215" y="344015"/>
              <a:ext cx="75684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" name="Группа 10"/>
          <p:cNvGrpSpPr/>
          <p:nvPr/>
        </p:nvGrpSpPr>
        <p:grpSpPr>
          <a:xfrm>
            <a:off x="1432153" y="586595"/>
            <a:ext cx="4624865" cy="3289140"/>
            <a:chOff x="174948" y="626220"/>
            <a:chExt cx="4292891" cy="2143565"/>
          </a:xfrm>
        </p:grpSpPr>
        <p:sp>
          <p:nvSpPr>
            <p:cNvPr id="157" name="Rectangle 7"/>
            <p:cNvSpPr>
              <a:spLocks noChangeArrowheads="1"/>
            </p:cNvSpPr>
            <p:nvPr/>
          </p:nvSpPr>
          <p:spPr bwMode="gray">
            <a:xfrm>
              <a:off x="552048" y="626220"/>
              <a:ext cx="3915791" cy="2143558"/>
            </a:xfrm>
            <a:prstGeom prst="rect">
              <a:avLst/>
            </a:prstGeom>
            <a:solidFill>
              <a:srgbClr val="ECFAFF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15866" rIns="15866" anchor="ctr">
              <a:noAutofit/>
            </a:bodyPr>
            <a:lstStyle/>
            <a:p>
              <a:pPr defTabSz="1059633" fontAlgn="base">
                <a:spcBef>
                  <a:spcPts val="532"/>
                </a:spcBef>
                <a:spcAft>
                  <a:spcPct val="0"/>
                </a:spcAft>
                <a:defRPr/>
              </a:pPr>
              <a:endParaRPr lang="en-US" sz="952" dirty="0">
                <a:solidFill>
                  <a:srgbClr val="000000"/>
                </a:solidFill>
                <a:latin typeface="Segoe UI Light"/>
                <a:ea typeface="MS PGothic" pitchFamily="34" charset="-128"/>
              </a:endParaRPr>
            </a:p>
          </p:txBody>
        </p:sp>
        <p:sp>
          <p:nvSpPr>
            <p:cNvPr id="158" name="Round Same Side Corner Rectangle 157"/>
            <p:cNvSpPr>
              <a:spLocks/>
            </p:cNvSpPr>
            <p:nvPr/>
          </p:nvSpPr>
          <p:spPr>
            <a:xfrm rot="16200000">
              <a:off x="-711473" y="1512643"/>
              <a:ext cx="2143563" cy="370722"/>
            </a:xfrm>
            <a:prstGeom prst="round2SameRect">
              <a:avLst/>
            </a:prstGeom>
            <a:solidFill>
              <a:srgbClr val="DDF4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6326" rIns="0" bIns="16326" rtlCol="0" anchor="ctr">
              <a:noAutofit/>
            </a:bodyPr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Краткое</a:t>
              </a:r>
              <a:endParaRPr lang="en-US" sz="952" b="1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описание</a:t>
              </a:r>
              <a:r>
                <a:rPr lang="x-none" sz="952" b="1">
                  <a:solidFill>
                    <a:srgbClr val="0070CE"/>
                  </a:solidFill>
                  <a:latin typeface="Segoe UI Light"/>
                  <a:ea typeface="ＭＳ Ｐゴシック"/>
                </a:rPr>
                <a:t> </a:t>
              </a:r>
              <a:r>
                <a:rPr lang="ru-RU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м</a:t>
              </a:r>
              <a:r>
                <a:rPr lang="x-none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е</a:t>
              </a:r>
              <a:r>
                <a:rPr lang="ru-RU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р</a:t>
              </a:r>
              <a:r>
                <a:rPr lang="x-none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ы</a:t>
              </a:r>
              <a:endParaRPr lang="en-US" sz="952" b="1" baseline="30000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</p:txBody>
        </p:sp>
        <p:cxnSp>
          <p:nvCxnSpPr>
            <p:cNvPr id="83" name="Straight Connector 82"/>
            <p:cNvCxnSpPr>
              <a:cxnSpLocks/>
            </p:cNvCxnSpPr>
            <p:nvPr/>
          </p:nvCxnSpPr>
          <p:spPr>
            <a:xfrm>
              <a:off x="552047" y="626221"/>
              <a:ext cx="0" cy="521262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xmlns="" id="{47F94ED9-EDCC-4E66-AF74-917634F0187B}"/>
                </a:ext>
              </a:extLst>
            </p:cNvPr>
            <p:cNvSpPr txBox="1"/>
            <p:nvPr/>
          </p:nvSpPr>
          <p:spPr>
            <a:xfrm>
              <a:off x="604946" y="627362"/>
              <a:ext cx="3811779" cy="210066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85122" eaLnBrk="1" latinLnBrk="0" hangingPunct="1">
                <a:buClr>
                  <a:schemeClr val="tx2"/>
                </a:buClr>
                <a:buSzPct val="100000"/>
                <a:defRPr sz="1071" baseline="0">
                  <a:latin typeface="+mn-lt"/>
                </a:defRPr>
              </a:lvl1pPr>
              <a:lvl2pPr marL="148200" lvl="1" indent="-146986" defTabSz="685122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71" baseline="0">
                  <a:latin typeface="+mn-lt"/>
                </a:defRPr>
              </a:lvl2pPr>
              <a:lvl3pPr marL="349849" lvl="2" indent="-200435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071" baseline="0">
                  <a:latin typeface="+mn-lt"/>
                </a:defRPr>
              </a:lvl3pPr>
              <a:lvl4pPr marL="470111" lvl="3" indent="-119046" defTabSz="685122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71" baseline="0">
                  <a:latin typeface="+mn-lt"/>
                </a:defRPr>
              </a:lvl4pPr>
              <a:lvl5pPr marL="573753" lvl="4" indent="-99610" defTabSz="68512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071" baseline="0">
                  <a:latin typeface="+mn-lt"/>
                </a:defRPr>
              </a:lvl5pPr>
              <a:lvl6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6pPr>
              <a:lvl7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7pPr>
              <a:lvl8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8pPr>
              <a:lvl9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9pPr>
            </a:lstStyle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b="1" dirty="0">
                  <a:solidFill>
                    <a:schemeClr val="tx2"/>
                  </a:solidFill>
                </a:rPr>
                <a:t>Контекст. </a:t>
              </a:r>
              <a:r>
                <a:rPr lang="ru-RU" sz="952" dirty="0"/>
                <a:t>Согласно данным ЮНЕСКО </a:t>
              </a:r>
              <a:r>
                <a:rPr lang="kk-KZ" sz="952" dirty="0"/>
                <a:t>в 2002 году </a:t>
              </a:r>
              <a:r>
                <a:rPr lang="ru-RU" sz="952" dirty="0"/>
                <a:t>численность международных студентов </a:t>
              </a:r>
              <a:r>
                <a:rPr lang="kk-KZ" sz="952" dirty="0"/>
                <a:t>в </a:t>
              </a:r>
              <a:r>
                <a:rPr lang="ru-RU" sz="952" dirty="0"/>
                <a:t>мире составляла 2,1 млн. чел., </a:t>
              </a:r>
              <a:r>
                <a:rPr lang="kk-KZ" sz="952" dirty="0"/>
                <a:t>в 2009 году – 3,4 млн. </a:t>
              </a:r>
              <a:r>
                <a:rPr lang="ru-RU" sz="952" dirty="0"/>
                <a:t>человек, а в настоящее время оценивается на уровне 5,8 млн. человек. Ожидается, что к 2025 году 9 млн. студентов будут получать высшее образование за рубежом.</a:t>
              </a:r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dirty="0"/>
                <a:t>Лидерами международного образования по-прежнему являются англоязычные страны – США, Великобритания, Австралия, Канада и Новая Зеландия, а также Германия и Франция. На их долю приходится более 60% мобильных студентов.</a:t>
              </a:r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b="1" dirty="0">
                  <a:solidFill>
                    <a:schemeClr val="tx2"/>
                  </a:solidFill>
                </a:rPr>
                <a:t>Существующая проблема.</a:t>
              </a:r>
              <a:r>
                <a:rPr lang="ru-RU" sz="952" dirty="0"/>
                <a:t> Низкая доля иностранных студентов – 6,68% от общего количества обучающихся. В развитых странах мира доля иностранных студентов превышает 10%, а в отдельных странах, как Великобритания, Швейцария и Новая </a:t>
              </a:r>
              <a:r>
                <a:rPr lang="kk-KZ" sz="952" dirty="0"/>
                <a:t>Зеландия, </a:t>
              </a:r>
              <a:r>
                <a:rPr lang="ru-RU" sz="952" dirty="0"/>
                <a:t>достигает </a:t>
              </a:r>
              <a:r>
                <a:rPr lang="kk-KZ" sz="952" dirty="0"/>
                <a:t>18-20%.</a:t>
              </a:r>
              <a:endParaRPr lang="ru-RU" sz="952" dirty="0"/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b="1" dirty="0">
                  <a:solidFill>
                    <a:schemeClr val="tx2"/>
                  </a:solidFill>
                </a:rPr>
                <a:t>Целью проекта является </a:t>
              </a:r>
              <a:r>
                <a:rPr lang="ru-RU" sz="952" dirty="0"/>
                <a:t>популяризация казахстанского высшего образования среди целевой аудитории зарубежных стран – Индия, Пакистан, Афганистан, Китай, Узбекистан (диаспора), Киргизия (диаспора), Монголия (диаспора).</a:t>
              </a:r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dirty="0"/>
                <a:t>На сегодняшний день популярны только отдельные направления подготовки – медицинские, языковые (русский язык).</a:t>
              </a:r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Увеличение числа иностранных студентов станет не только источником дополнительного дохода для вузов и местной экономики, но и будет способствовать </a:t>
              </a:r>
              <a:r>
                <a:rPr lang="ru-RU" sz="952" dirty="0"/>
                <a:t>аккумуляции знаний, инноваций и талантов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D8D92ED-034E-452C-9E02-17743737A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150" y="190012"/>
            <a:ext cx="9327705" cy="3436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ru-RU" sz="1814" b="1" dirty="0"/>
              <a:t>Пример проекта: Привлечение иностранных студентов</a:t>
            </a:r>
            <a:endParaRPr lang="en-GB" sz="1814" b="1" dirty="0"/>
          </a:p>
        </p:txBody>
      </p:sp>
      <p:grpSp>
        <p:nvGrpSpPr>
          <p:cNvPr id="12" name="Группа 11"/>
          <p:cNvGrpSpPr/>
          <p:nvPr/>
        </p:nvGrpSpPr>
        <p:grpSpPr>
          <a:xfrm>
            <a:off x="1423169" y="3931632"/>
            <a:ext cx="4624867" cy="994624"/>
            <a:chOff x="174945" y="2621154"/>
            <a:chExt cx="4360301" cy="745968"/>
          </a:xfrm>
        </p:grpSpPr>
        <p:sp>
          <p:nvSpPr>
            <p:cNvPr id="69" name="Rectangle 7">
              <a:extLst>
                <a:ext uri="{FF2B5EF4-FFF2-40B4-BE49-F238E27FC236}">
                  <a16:creationId xmlns:a16="http://schemas.microsoft.com/office/drawing/2014/main" xmlns="" id="{13348A29-2574-4DFD-A8A2-4903F850C26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2047" y="2621154"/>
              <a:ext cx="3983199" cy="745968"/>
            </a:xfrm>
            <a:prstGeom prst="rect">
              <a:avLst/>
            </a:prstGeom>
            <a:solidFill>
              <a:srgbClr val="ECFAFF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15866" rIns="15866" anchor="t">
              <a:noAutofit/>
            </a:bodyPr>
            <a:lstStyle/>
            <a:p>
              <a:pPr marL="171738" lvl="1" indent="-170331" defTabSz="793939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25000"/>
                <a:buFont typeface="Arial" charset="0"/>
                <a:buChar char="▪"/>
                <a:defRPr/>
              </a:pPr>
              <a:endParaRPr lang="ru-RU" sz="907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0" name="Round Same Side Corner Rectangle 276">
              <a:extLst>
                <a:ext uri="{FF2B5EF4-FFF2-40B4-BE49-F238E27FC236}">
                  <a16:creationId xmlns:a16="http://schemas.microsoft.com/office/drawing/2014/main" xmlns="" id="{CD65DFF1-D949-4AED-B750-D0323D7FFDD6}"/>
                </a:ext>
              </a:extLst>
            </p:cNvPr>
            <p:cNvSpPr>
              <a:spLocks/>
            </p:cNvSpPr>
            <p:nvPr/>
          </p:nvSpPr>
          <p:spPr>
            <a:xfrm rot="16200000">
              <a:off x="-9486" y="2805585"/>
              <a:ext cx="745968" cy="377106"/>
            </a:xfrm>
            <a:prstGeom prst="round2SameRect">
              <a:avLst/>
            </a:prstGeom>
            <a:solidFill>
              <a:srgbClr val="DDF4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986" tIns="24986" rIns="24986" bIns="24986" rtlCol="0" anchor="ctr">
              <a:noAutofit/>
            </a:bodyPr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КПЭ</a:t>
              </a:r>
              <a:endParaRPr lang="en-US" sz="907" b="1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xmlns="" id="{5ECD3CED-F77D-488C-AB0D-B63CAE69F6EF}"/>
                </a:ext>
              </a:extLst>
            </p:cNvPr>
            <p:cNvSpPr txBox="1"/>
            <p:nvPr/>
          </p:nvSpPr>
          <p:spPr>
            <a:xfrm>
              <a:off x="604946" y="2703088"/>
              <a:ext cx="3877397" cy="60713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85122" eaLnBrk="1" latinLnBrk="0" hangingPunct="1">
                <a:buClr>
                  <a:schemeClr val="tx2"/>
                </a:buClr>
                <a:buSzPct val="100000"/>
                <a:defRPr sz="1071" baseline="0">
                  <a:latin typeface="+mn-lt"/>
                </a:defRPr>
              </a:lvl1pPr>
              <a:lvl2pPr marL="148200" lvl="1" indent="-146986" defTabSz="685122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71" baseline="0">
                  <a:latin typeface="+mn-lt"/>
                </a:defRPr>
              </a:lvl2pPr>
              <a:lvl3pPr marL="349849" lvl="2" indent="-200435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071" baseline="0">
                  <a:latin typeface="+mn-lt"/>
                </a:defRPr>
              </a:lvl3pPr>
              <a:lvl4pPr marL="470111" lvl="3" indent="-119046" defTabSz="685122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71" baseline="0">
                  <a:latin typeface="+mn-lt"/>
                </a:defRPr>
              </a:lvl4pPr>
              <a:lvl5pPr marL="573753" lvl="4" indent="-99610" defTabSz="68512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071" baseline="0">
                  <a:latin typeface="+mn-lt"/>
                </a:defRPr>
              </a:lvl5pPr>
              <a:lvl6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6pPr>
              <a:lvl7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7pPr>
              <a:lvl8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8pPr>
              <a:lvl9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9pPr>
            </a:lstStyle>
            <a:p>
              <a:pPr lvl="1">
                <a:spcBef>
                  <a:spcPts val="348"/>
                </a:spcBef>
                <a:spcAft>
                  <a:spcPts val="348"/>
                </a:spcAft>
                <a:buClr>
                  <a:srgbClr val="0070CE"/>
                </a:buClr>
                <a:defRPr/>
              </a:pPr>
              <a:r>
                <a:rPr lang="ru-RU" sz="952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Доля иностранных студентов в системе высшего образования, в </a:t>
              </a:r>
              <a:r>
                <a:rPr lang="ru-RU" sz="952" dirty="0" err="1">
                  <a:solidFill>
                    <a:srgbClr val="000000"/>
                  </a:solidFill>
                  <a:ea typeface="MS PGothic" panose="020B0600070205080204" pitchFamily="34" charset="-128"/>
                </a:rPr>
                <a:t>т.ч</a:t>
              </a:r>
              <a:r>
                <a:rPr lang="ru-RU" sz="952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. обучающихся на коммерческой основе увеличится  с 6,68% в 2019 году до 10% в 2025 году</a:t>
              </a:r>
            </a:p>
            <a:p>
              <a:pPr lvl="1">
                <a:spcBef>
                  <a:spcPts val="348"/>
                </a:spcBef>
                <a:spcAft>
                  <a:spcPts val="348"/>
                </a:spcAft>
                <a:buClr>
                  <a:srgbClr val="0070CE"/>
                </a:buClr>
                <a:defRPr/>
              </a:pPr>
              <a:r>
                <a:rPr lang="ru-RU" sz="952" dirty="0"/>
                <a:t>Доля образовательных программ ВУЗов на английском языке увеличится с 5% в 2019 году до 10% в 2025 году </a:t>
              </a:r>
              <a:endParaRPr lang="ru-RU" sz="952" b="1" i="1" dirty="0"/>
            </a:p>
          </p:txBody>
        </p:sp>
      </p:grpSp>
      <p:sp>
        <p:nvSpPr>
          <p:cNvPr id="175" name="Rectangle 7"/>
          <p:cNvSpPr>
            <a:spLocks noChangeArrowheads="1"/>
          </p:cNvSpPr>
          <p:nvPr/>
        </p:nvSpPr>
        <p:spPr bwMode="gray">
          <a:xfrm>
            <a:off x="6540137" y="1204122"/>
            <a:ext cx="4120817" cy="5397255"/>
          </a:xfrm>
          <a:prstGeom prst="rect">
            <a:avLst/>
          </a:prstGeom>
          <a:solidFill>
            <a:srgbClr val="ECFAF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40543" tIns="52981" rIns="40543" bIns="52981" anchor="ctr">
            <a:no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52" b="1" dirty="0">
              <a:solidFill>
                <a:srgbClr val="000000"/>
              </a:solidFill>
              <a:latin typeface="Segoe UI Light"/>
              <a:ea typeface="MS PGothic" pitchFamily="34" charset="-128"/>
            </a:endParaRPr>
          </a:p>
        </p:txBody>
      </p:sp>
      <p:sp>
        <p:nvSpPr>
          <p:cNvPr id="176" name="Round Same Side Corner Rectangle 175"/>
          <p:cNvSpPr>
            <a:spLocks/>
          </p:cNvSpPr>
          <p:nvPr/>
        </p:nvSpPr>
        <p:spPr>
          <a:xfrm rot="16200000">
            <a:off x="3633603" y="3697970"/>
            <a:ext cx="5397256" cy="399987"/>
          </a:xfrm>
          <a:prstGeom prst="round2SameRect">
            <a:avLst/>
          </a:prstGeom>
          <a:solidFill>
            <a:srgbClr val="DDF4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847" tIns="63847" rIns="63847" bIns="63847" rtlCol="0" anchor="ctr">
            <a:noAutofit/>
          </a:bodyPr>
          <a:lstStyle/>
          <a:p>
            <a:pPr algn="ctr"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b="1" dirty="0">
                <a:solidFill>
                  <a:srgbClr val="0070CE"/>
                </a:solidFill>
                <a:latin typeface="Segoe UI Light"/>
                <a:ea typeface="ＭＳ Ｐゴシック"/>
              </a:rPr>
              <a:t>Ключевые этапы и сроки</a:t>
            </a:r>
          </a:p>
        </p:txBody>
      </p:sp>
      <p:cxnSp>
        <p:nvCxnSpPr>
          <p:cNvPr id="258" name="Straight Arrow Connector 257"/>
          <p:cNvCxnSpPr>
            <a:cxnSpLocks/>
          </p:cNvCxnSpPr>
          <p:nvPr/>
        </p:nvCxnSpPr>
        <p:spPr>
          <a:xfrm>
            <a:off x="6693748" y="1199339"/>
            <a:ext cx="0" cy="518400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Oval 258"/>
          <p:cNvSpPr txBox="1"/>
          <p:nvPr>
            <p:custDataLst>
              <p:tags r:id="rId4"/>
            </p:custDataLst>
          </p:nvPr>
        </p:nvSpPr>
        <p:spPr>
          <a:xfrm>
            <a:off x="6625016" y="1223196"/>
            <a:ext cx="137464" cy="202417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423169" y="4965171"/>
            <a:ext cx="4624867" cy="1632181"/>
            <a:chOff x="174945" y="3966096"/>
            <a:chExt cx="4360301" cy="1224136"/>
          </a:xfrm>
        </p:grpSpPr>
        <p:sp>
          <p:nvSpPr>
            <p:cNvPr id="284" name="Rectangle 7"/>
            <p:cNvSpPr>
              <a:spLocks noChangeArrowheads="1"/>
            </p:cNvSpPr>
            <p:nvPr/>
          </p:nvSpPr>
          <p:spPr bwMode="gray">
            <a:xfrm>
              <a:off x="552047" y="3966096"/>
              <a:ext cx="3983199" cy="1224136"/>
            </a:xfrm>
            <a:prstGeom prst="rect">
              <a:avLst/>
            </a:prstGeom>
            <a:solidFill>
              <a:srgbClr val="ECFAFF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15866" rIns="15866" anchor="t">
              <a:noAutofit/>
            </a:bodyPr>
            <a:lstStyle/>
            <a:p>
              <a:pPr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52" b="1" dirty="0">
                <a:solidFill>
                  <a:srgbClr val="000000"/>
                </a:solidFill>
                <a:latin typeface="Segoe UI Light"/>
                <a:ea typeface="MS PGothic" pitchFamily="34" charset="-128"/>
              </a:endParaRPr>
            </a:p>
          </p:txBody>
        </p:sp>
        <p:sp>
          <p:nvSpPr>
            <p:cNvPr id="285" name="Round Same Side Corner Rectangle 284"/>
            <p:cNvSpPr>
              <a:spLocks/>
            </p:cNvSpPr>
            <p:nvPr/>
          </p:nvSpPr>
          <p:spPr>
            <a:xfrm rot="16200000">
              <a:off x="-248570" y="4389611"/>
              <a:ext cx="1224136" cy="377106"/>
            </a:xfrm>
            <a:prstGeom prst="round2SameRect">
              <a:avLst/>
            </a:prstGeom>
            <a:solidFill>
              <a:srgbClr val="DDF4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986" tIns="24986" rIns="24986" bIns="24986" rtlCol="0" anchor="ctr">
              <a:noAutofit/>
            </a:bodyPr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x-none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Ресурсы</a:t>
              </a:r>
              <a:endParaRPr lang="en-US" sz="952" b="1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</p:txBody>
        </p:sp>
        <p:grpSp>
          <p:nvGrpSpPr>
            <p:cNvPr id="71" name="ACET"/>
            <p:cNvGrpSpPr>
              <a:grpSpLocks/>
            </p:cNvGrpSpPr>
            <p:nvPr/>
          </p:nvGrpSpPr>
          <p:grpSpPr bwMode="gray">
            <a:xfrm>
              <a:off x="604946" y="3997417"/>
              <a:ext cx="3877397" cy="114921"/>
              <a:chOff x="915" y="890"/>
              <a:chExt cx="2686" cy="140"/>
            </a:xfrm>
          </p:grpSpPr>
          <p:cxnSp>
            <p:nvCxnSpPr>
              <p:cNvPr id="72" name="AutoShape 249"/>
              <p:cNvCxnSpPr>
                <a:cxnSpLocks noChangeShapeType="1"/>
                <a:stCxn id="73" idx="4"/>
                <a:endCxn id="73" idx="6"/>
              </p:cNvCxnSpPr>
              <p:nvPr/>
            </p:nvCxnSpPr>
            <p:spPr bwMode="gray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73" name="AutoShape 250"/>
              <p:cNvSpPr>
                <a:spLocks noChangeArrowheads="1"/>
              </p:cNvSpPr>
              <p:nvPr/>
            </p:nvSpPr>
            <p:spPr bwMode="gray">
              <a:xfrm>
                <a:off x="915" y="890"/>
                <a:ext cx="2686" cy="140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6347" anchor="b">
                <a:spAutoFit/>
              </a:bodyPr>
              <a:lstStyle/>
              <a:p>
                <a:pPr defTabSz="105963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952" dirty="0">
                    <a:solidFill>
                      <a:srgbClr val="0070CE"/>
                    </a:solidFill>
                    <a:latin typeface="Segoe UI Light"/>
                    <a:ea typeface="MS PGothic" pitchFamily="34" charset="-128"/>
                  </a:rPr>
                  <a:t>Необходимые ресурсы</a:t>
                </a:r>
                <a:endParaRPr lang="ru-RU" sz="952" dirty="0">
                  <a:solidFill>
                    <a:srgbClr val="000000"/>
                  </a:solidFill>
                  <a:latin typeface="Segoe UI Light"/>
                  <a:ea typeface="MS PGothic" pitchFamily="34" charset="-128"/>
                </a:endParaRPr>
              </a:p>
            </p:txBody>
          </p:sp>
        </p:grpSp>
        <p:sp>
          <p:nvSpPr>
            <p:cNvPr id="81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11698" y="4205050"/>
              <a:ext cx="3870645" cy="109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52" dirty="0">
                  <a:solidFill>
                    <a:srgbClr val="000000"/>
                  </a:solidFill>
                  <a:latin typeface="+mn-lt"/>
                </a:rPr>
                <a:t>Уточняется</a:t>
              </a:r>
              <a:endParaRPr lang="ru-RU" sz="952" i="1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45" name="1. On-page tracker">
            <a:extLst>
              <a:ext uri="{FF2B5EF4-FFF2-40B4-BE49-F238E27FC236}">
                <a16:creationId xmlns:a16="http://schemas.microsoft.com/office/drawing/2014/main" xmlns="" id="{53C3EA5F-C5F0-4EC4-B7B7-5684D47C3C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2151" y="77305"/>
            <a:ext cx="1410643" cy="223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726" cap="all" dirty="0">
                <a:solidFill>
                  <a:srgbClr val="808080"/>
                </a:solidFill>
                <a:latin typeface="Arial"/>
                <a:ea typeface="ＭＳ Ｐゴシック"/>
              </a:rPr>
              <a:t>Направление </a:t>
            </a:r>
            <a:r>
              <a:rPr lang="ru-RU" sz="680" b="1" cap="all" dirty="0">
                <a:latin typeface="Arial"/>
              </a:rPr>
              <a:t>Образование</a:t>
            </a:r>
            <a:endParaRPr lang="en-US" sz="907" b="1" cap="all" dirty="0">
              <a:latin typeface="Arial"/>
            </a:endParaRPr>
          </a:p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26" cap="all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6785436" y="1625192"/>
            <a:ext cx="3723900" cy="279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 20 октября 2019 г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План проведения «Дней образования РК» за рубежом  </a:t>
            </a:r>
            <a:r>
              <a:rPr lang="ru-RU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(вузы, стипендиаты программы </a:t>
            </a:r>
            <a:r>
              <a:rPr lang="ru-RU" sz="907" i="1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Болашак</a:t>
            </a:r>
            <a:r>
              <a:rPr lang="ru-RU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и других программ)</a:t>
            </a:r>
          </a:p>
        </p:txBody>
      </p:sp>
      <p:sp>
        <p:nvSpPr>
          <p:cNvPr id="60" name="Oval 258"/>
          <p:cNvSpPr txBox="1"/>
          <p:nvPr>
            <p:custDataLst>
              <p:tags r:id="rId5"/>
            </p:custDataLst>
          </p:nvPr>
        </p:nvSpPr>
        <p:spPr>
          <a:xfrm>
            <a:off x="6619030" y="1625192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2" name="Oval 258"/>
          <p:cNvSpPr txBox="1"/>
          <p:nvPr>
            <p:custDataLst>
              <p:tags r:id="rId6"/>
            </p:custDataLst>
          </p:nvPr>
        </p:nvSpPr>
        <p:spPr>
          <a:xfrm>
            <a:off x="6617692" y="2000479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4" name="Oval 258"/>
          <p:cNvSpPr txBox="1"/>
          <p:nvPr>
            <p:custDataLst>
              <p:tags r:id="rId7"/>
            </p:custDataLst>
          </p:nvPr>
        </p:nvSpPr>
        <p:spPr>
          <a:xfrm>
            <a:off x="6617692" y="2430446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5" name="Oval 258"/>
          <p:cNvSpPr txBox="1"/>
          <p:nvPr>
            <p:custDataLst>
              <p:tags r:id="rId8"/>
            </p:custDataLst>
          </p:nvPr>
        </p:nvSpPr>
        <p:spPr>
          <a:xfrm>
            <a:off x="6633543" y="3236980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6" name="Oval 258"/>
          <p:cNvSpPr txBox="1"/>
          <p:nvPr>
            <p:custDataLst>
              <p:tags r:id="rId9"/>
            </p:custDataLst>
          </p:nvPr>
        </p:nvSpPr>
        <p:spPr>
          <a:xfrm>
            <a:off x="6625088" y="2852937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7" name="Oval 258"/>
          <p:cNvSpPr txBox="1"/>
          <p:nvPr>
            <p:custDataLst>
              <p:tags r:id="rId10"/>
            </p:custDataLst>
          </p:nvPr>
        </p:nvSpPr>
        <p:spPr>
          <a:xfrm>
            <a:off x="6617692" y="4319260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8" name="Oval 258"/>
          <p:cNvSpPr txBox="1"/>
          <p:nvPr>
            <p:custDataLst>
              <p:tags r:id="rId11"/>
            </p:custDataLst>
          </p:nvPr>
        </p:nvSpPr>
        <p:spPr>
          <a:xfrm>
            <a:off x="6625088" y="3630509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791219" y="1252775"/>
            <a:ext cx="3750058" cy="293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>
              <a:buClr>
                <a:srgbClr val="000000"/>
              </a:buClr>
              <a:defRPr kumimoji="0" sz="8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ＭＳ Ｐゴシック"/>
                <a:cs typeface="Arial" panose="020B0604020202020204" pitchFamily="34" charset="0"/>
              </a:defRPr>
            </a:lvl1pPr>
          </a:lstStyle>
          <a:p>
            <a:r>
              <a:rPr lang="ru-RU" sz="952" dirty="0"/>
              <a:t>До 20 октября 2019 г. </a:t>
            </a:r>
            <a:r>
              <a:rPr lang="ru-RU" sz="952" b="0" dirty="0">
                <a:solidFill>
                  <a:schemeClr val="tx1"/>
                </a:solidFill>
              </a:rPr>
              <a:t>Стратегия интернационализации высшего образования РК</a:t>
            </a:r>
            <a:endParaRPr lang="ru-RU" sz="952" b="0" i="1" dirty="0">
              <a:solidFill>
                <a:schemeClr val="tx1"/>
              </a:solidFill>
            </a:endParaRPr>
          </a:p>
        </p:txBody>
      </p:sp>
      <p:sp>
        <p:nvSpPr>
          <p:cNvPr id="78" name="TextBox 77"/>
          <p:cNvSpPr txBox="1">
            <a:spLocks/>
          </p:cNvSpPr>
          <p:nvPr/>
        </p:nvSpPr>
        <p:spPr>
          <a:xfrm>
            <a:off x="6804298" y="3236980"/>
            <a:ext cx="3723900" cy="279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059633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 20 декабря 2019 г. </a:t>
            </a:r>
            <a:r>
              <a:rPr lang="ru-RU" sz="907" dirty="0">
                <a:solidFill>
                  <a:srgbClr val="000000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Подготовка бюджетной заявки для выделения средств на разработку онлайн-портала</a:t>
            </a:r>
            <a:endParaRPr lang="ru-RU" sz="907" b="1" i="1" dirty="0">
              <a:solidFill>
                <a:srgbClr val="000000"/>
              </a:solidFill>
              <a:latin typeface="+mn-l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2" name="TextBox 81"/>
          <p:cNvSpPr txBox="1">
            <a:spLocks/>
          </p:cNvSpPr>
          <p:nvPr/>
        </p:nvSpPr>
        <p:spPr>
          <a:xfrm>
            <a:off x="6804298" y="3630509"/>
            <a:ext cx="3790854" cy="697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До 20 декабря 2019 г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Создание единого информационного пространства по повышению привлекательности и узнаваемости образования РК: </a:t>
            </a:r>
            <a:r>
              <a:rPr lang="ru-RU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размещение </a:t>
            </a:r>
            <a:r>
              <a:rPr lang="ru-RU" sz="907" i="1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rand</a:t>
            </a:r>
            <a:r>
              <a:rPr lang="ru-RU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907" i="1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ook</a:t>
            </a:r>
            <a:r>
              <a:rPr lang="ru-RU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на сайтах вузов, госорганов, образовательных центров, загранучреждений РК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</a:p>
          <a:p>
            <a:pPr lvl="0">
              <a:buClr>
                <a:srgbClr val="000000"/>
              </a:buClr>
              <a:defRPr/>
            </a:pPr>
            <a:endParaRPr lang="ru-RU" sz="907" b="1" i="1" dirty="0">
              <a:solidFill>
                <a:srgbClr val="000000"/>
              </a:solidFill>
              <a:latin typeface="+mn-l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6770975" y="2000478"/>
            <a:ext cx="3723900" cy="279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 20 ноября 2019 г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Разработка </a:t>
            </a:r>
            <a:r>
              <a:rPr lang="ru-RU" sz="907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rand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907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ook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(бренд бука) о системе высшего образования РК</a:t>
            </a:r>
            <a:endParaRPr lang="ru-RU" sz="907" i="1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6791219" y="2430445"/>
            <a:ext cx="3723900" cy="279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 </a:t>
            </a:r>
            <a:r>
              <a:rPr lang="en-US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20 </a:t>
            </a: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ноября 2019 г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Разработка проекта онлайн-портала «</a:t>
            </a:r>
            <a:r>
              <a:rPr lang="ru-RU" sz="907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tudy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907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907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Kazakhstan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» для иностранных студентов</a:t>
            </a:r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6804298" y="2852937"/>
            <a:ext cx="3723900" cy="279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 20 декабря 2019 г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Форум с главами дипломатических представительств и международных организаций, аккредитованных в РК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785437" y="4800061"/>
            <a:ext cx="3750058" cy="293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>
              <a:buClr>
                <a:srgbClr val="000000"/>
              </a:buClr>
              <a:defRPr kumimoji="0" sz="8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ＭＳ Ｐゴシック"/>
                <a:cs typeface="Arial" panose="020B0604020202020204" pitchFamily="34" charset="0"/>
              </a:defRPr>
            </a:lvl1pPr>
          </a:lstStyle>
          <a:p>
            <a:r>
              <a:rPr lang="ru-RU" sz="952" dirty="0"/>
              <a:t>Ноябрь 2020 г. </a:t>
            </a:r>
            <a:r>
              <a:rPr lang="ru-RU" sz="952" b="0" dirty="0">
                <a:solidFill>
                  <a:schemeClr val="tx1"/>
                </a:solidFill>
              </a:rPr>
              <a:t>Форум иностранных студентов в Казахстане при содействии вузов и их международных партнеров</a:t>
            </a:r>
          </a:p>
        </p:txBody>
      </p:sp>
      <p:sp>
        <p:nvSpPr>
          <p:cNvPr id="52" name="Oval 258"/>
          <p:cNvSpPr txBox="1"/>
          <p:nvPr>
            <p:custDataLst>
              <p:tags r:id="rId12"/>
            </p:custDataLst>
          </p:nvPr>
        </p:nvSpPr>
        <p:spPr>
          <a:xfrm>
            <a:off x="6617692" y="4800061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6798516" y="5160165"/>
            <a:ext cx="3723900" cy="279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</a:t>
            </a: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Увеличение доли реализуемых образовательных программ на английском языке </a:t>
            </a:r>
          </a:p>
        </p:txBody>
      </p:sp>
      <p:sp>
        <p:nvSpPr>
          <p:cNvPr id="57" name="TextBox 56"/>
          <p:cNvSpPr txBox="1">
            <a:spLocks/>
          </p:cNvSpPr>
          <p:nvPr/>
        </p:nvSpPr>
        <p:spPr>
          <a:xfrm>
            <a:off x="6785436" y="5491264"/>
            <a:ext cx="3723900" cy="418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</a:t>
            </a: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Привлечение вузами зарубежных преподавателей и ученых, в том числе посредством волонтерских платформ </a:t>
            </a:r>
            <a:r>
              <a:rPr lang="en-US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(Go Nomads) </a:t>
            </a:r>
            <a:r>
              <a:rPr lang="ru-RU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8" name="TextBox 57"/>
          <p:cNvSpPr txBox="1">
            <a:spLocks/>
          </p:cNvSpPr>
          <p:nvPr/>
        </p:nvSpPr>
        <p:spPr>
          <a:xfrm>
            <a:off x="6804298" y="5983708"/>
            <a:ext cx="3723900" cy="279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</a:t>
            </a: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Увеличение количества </a:t>
            </a:r>
            <a:r>
              <a:rPr lang="ru-RU" sz="907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двудипломных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программ </a:t>
            </a:r>
          </a:p>
        </p:txBody>
      </p:sp>
      <p:sp>
        <p:nvSpPr>
          <p:cNvPr id="75" name="Oval 258"/>
          <p:cNvSpPr txBox="1"/>
          <p:nvPr>
            <p:custDataLst>
              <p:tags r:id="rId13"/>
            </p:custDataLst>
          </p:nvPr>
        </p:nvSpPr>
        <p:spPr>
          <a:xfrm>
            <a:off x="6619030" y="5163433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76" name="Oval 258"/>
          <p:cNvSpPr txBox="1"/>
          <p:nvPr>
            <p:custDataLst>
              <p:tags r:id="rId14"/>
            </p:custDataLst>
          </p:nvPr>
        </p:nvSpPr>
        <p:spPr>
          <a:xfrm>
            <a:off x="6625088" y="5491265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79" name="Oval 258"/>
          <p:cNvSpPr txBox="1"/>
          <p:nvPr>
            <p:custDataLst>
              <p:tags r:id="rId15"/>
            </p:custDataLst>
          </p:nvPr>
        </p:nvSpPr>
        <p:spPr>
          <a:xfrm>
            <a:off x="6617692" y="5973670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84" name="TextBox 83"/>
          <p:cNvSpPr txBox="1">
            <a:spLocks/>
          </p:cNvSpPr>
          <p:nvPr/>
        </p:nvSpPr>
        <p:spPr>
          <a:xfrm>
            <a:off x="6798516" y="4307618"/>
            <a:ext cx="3723900" cy="418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.</a:t>
            </a: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Открытие центров казахского языка и культуры в ведущих университетах мира при содействии загранучреждений РК, ассоциаций казахстанских студентов, диаспоры</a:t>
            </a:r>
          </a:p>
        </p:txBody>
      </p:sp>
    </p:spTree>
    <p:extLst>
      <p:ext uri="{BB962C8B-B14F-4D97-AF65-F5344CB8AC3E}">
        <p14:creationId xmlns:p14="http://schemas.microsoft.com/office/powerpoint/2010/main" val="4079208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Прямоугольный треугольник 55"/>
          <p:cNvSpPr/>
          <p:nvPr/>
        </p:nvSpPr>
        <p:spPr>
          <a:xfrm flipV="1">
            <a:off x="1" y="-4"/>
            <a:ext cx="2137471" cy="983423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80" name="Object 27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460447" y="1621"/>
          <a:ext cx="1287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15" imgW="530" imgH="528" progId="TCLayout.ActiveDocument.1">
                  <p:embed/>
                </p:oleObj>
              </mc:Choice>
              <mc:Fallback>
                <p:oleObj name="think-cell Slide" r:id="rId15" imgW="530" imgH="528" progId="TCLayout.ActiveDocument.1">
                  <p:embed/>
                  <p:pic>
                    <p:nvPicPr>
                      <p:cNvPr id="280" name="Object 279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460447" y="1621"/>
                        <a:ext cx="1287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0" name="Rectangle 289" hidden="1"/>
          <p:cNvSpPr/>
          <p:nvPr>
            <p:custDataLst>
              <p:tags r:id="rId3"/>
            </p:custDataLst>
          </p:nvPr>
        </p:nvSpPr>
        <p:spPr bwMode="auto">
          <a:xfrm>
            <a:off x="2459157" y="1"/>
            <a:ext cx="128852" cy="161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ru-RU" sz="1678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60" name="Round Same Side Corner Rectangle 159"/>
          <p:cNvSpPr>
            <a:spLocks/>
          </p:cNvSpPr>
          <p:nvPr/>
        </p:nvSpPr>
        <p:spPr>
          <a:xfrm rot="16200000">
            <a:off x="6038464" y="668869"/>
            <a:ext cx="579279" cy="391732"/>
          </a:xfrm>
          <a:prstGeom prst="round2SameRect">
            <a:avLst/>
          </a:prstGeom>
          <a:solidFill>
            <a:srgbClr val="DDF4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1718" rIns="0" bIns="41718" rtlCol="0" anchor="ctr">
            <a:noAutofit/>
          </a:bodyPr>
          <a:lstStyle/>
          <a:p>
            <a:pPr algn="ctr"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b="1" dirty="0" err="1">
                <a:solidFill>
                  <a:srgbClr val="0070CE"/>
                </a:solidFill>
                <a:latin typeface="Segoe UI Light"/>
                <a:ea typeface="ＭＳ Ｐゴシック"/>
              </a:rPr>
              <a:t>Ответс</a:t>
            </a:r>
            <a:r>
              <a:rPr lang="ru-RU" sz="907" b="1" dirty="0">
                <a:solidFill>
                  <a:srgbClr val="0070CE"/>
                </a:solidFill>
                <a:latin typeface="Segoe UI Light"/>
                <a:ea typeface="ＭＳ Ｐゴシック"/>
              </a:rPr>
              <a:t>-</a:t>
            </a:r>
          </a:p>
          <a:p>
            <a:pPr algn="ctr"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b="1" dirty="0" err="1">
                <a:solidFill>
                  <a:srgbClr val="0070CE"/>
                </a:solidFill>
                <a:latin typeface="Segoe UI Light"/>
                <a:ea typeface="ＭＳ Ｐゴシック"/>
              </a:rPr>
              <a:t>твенные</a:t>
            </a:r>
            <a:endParaRPr lang="en-US" sz="907" b="1" dirty="0">
              <a:solidFill>
                <a:srgbClr val="0070CE"/>
              </a:solidFill>
              <a:latin typeface="Segoe UI Light"/>
              <a:ea typeface="ＭＳ Ｐゴシック"/>
            </a:endParaRPr>
          </a:p>
        </p:txBody>
      </p:sp>
      <p:sp>
        <p:nvSpPr>
          <p:cNvPr id="166" name="Rectangle 7"/>
          <p:cNvSpPr>
            <a:spLocks noChangeArrowheads="1"/>
          </p:cNvSpPr>
          <p:nvPr/>
        </p:nvSpPr>
        <p:spPr bwMode="gray">
          <a:xfrm>
            <a:off x="6523243" y="575633"/>
            <a:ext cx="4137710" cy="579841"/>
          </a:xfrm>
          <a:prstGeom prst="rect">
            <a:avLst/>
          </a:prstGeom>
          <a:solidFill>
            <a:srgbClr val="ECFAF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40543" tIns="52981" rIns="40543" bIns="52981" anchor="ctr">
            <a:no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7" b="1" dirty="0">
              <a:solidFill>
                <a:srgbClr val="000000"/>
              </a:solidFill>
              <a:latin typeface="Segoe UI Light"/>
              <a:ea typeface="MS PGothic" pitchFamily="34" charset="-128"/>
            </a:endParaRPr>
          </a:p>
        </p:txBody>
      </p:sp>
      <p:sp>
        <p:nvSpPr>
          <p:cNvPr id="167" name="Rectangle 6"/>
          <p:cNvSpPr txBox="1">
            <a:spLocks/>
          </p:cNvSpPr>
          <p:nvPr/>
        </p:nvSpPr>
        <p:spPr>
          <a:xfrm>
            <a:off x="6581490" y="585814"/>
            <a:ext cx="3638878" cy="294679"/>
          </a:xfrm>
          <a:prstGeom prst="rect">
            <a:avLst/>
          </a:prstGeom>
          <a:extLst/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00" baseline="0">
                <a:solidFill>
                  <a:schemeClr val="accent3"/>
                </a:solidFill>
                <a:latin typeface="+mn-lt"/>
                <a:ea typeface="MS PGothic" pitchFamily="34" charset="-128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r>
              <a:rPr lang="x-none" sz="907" b="1" dirty="0">
                <a:solidFill>
                  <a:srgbClr val="0070CE"/>
                </a:solidFill>
                <a:latin typeface="Segoe UI Light"/>
              </a:rPr>
              <a:t>Главный исполнитель</a:t>
            </a:r>
            <a:r>
              <a:rPr lang="en-US" sz="907" b="1" dirty="0">
                <a:solidFill>
                  <a:srgbClr val="0070CE"/>
                </a:solidFill>
                <a:latin typeface="Segoe UI Light"/>
              </a:rPr>
              <a:t>:  </a:t>
            </a:r>
            <a:r>
              <a:rPr lang="ru-RU" sz="907" dirty="0">
                <a:solidFill>
                  <a:schemeClr val="tx1"/>
                </a:solidFill>
                <a:latin typeface="Segoe UI Light"/>
              </a:rPr>
              <a:t>МОН – </a:t>
            </a:r>
            <a:r>
              <a:rPr lang="ru-RU" sz="907" dirty="0" err="1">
                <a:solidFill>
                  <a:schemeClr val="tx1"/>
                </a:solidFill>
                <a:latin typeface="Segoe UI Light"/>
              </a:rPr>
              <a:t>Жакыпова</a:t>
            </a:r>
            <a:r>
              <a:rPr lang="ru-RU" sz="907" dirty="0">
                <a:solidFill>
                  <a:schemeClr val="tx1"/>
                </a:solidFill>
                <a:latin typeface="Segoe UI Light"/>
              </a:rPr>
              <a:t> Ф.Н.</a:t>
            </a:r>
            <a:endParaRPr lang="en-US" sz="907" dirty="0">
              <a:solidFill>
                <a:schemeClr val="tx1"/>
              </a:solidFill>
              <a:latin typeface="Segoe UI Light"/>
            </a:endParaRPr>
          </a:p>
        </p:txBody>
      </p:sp>
      <p:sp>
        <p:nvSpPr>
          <p:cNvPr id="168" name="Rectangle 6"/>
          <p:cNvSpPr txBox="1">
            <a:spLocks/>
          </p:cNvSpPr>
          <p:nvPr/>
        </p:nvSpPr>
        <p:spPr>
          <a:xfrm>
            <a:off x="6581489" y="913625"/>
            <a:ext cx="4027804" cy="139590"/>
          </a:xfrm>
          <a:prstGeom prst="rect">
            <a:avLst/>
          </a:prstGeom>
          <a:extLst/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00" baseline="0">
                <a:solidFill>
                  <a:schemeClr val="accent3"/>
                </a:solidFill>
                <a:latin typeface="+mn-lt"/>
                <a:ea typeface="MS PGothic" pitchFamily="34" charset="-128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70CE"/>
              </a:buClr>
              <a:defRPr/>
            </a:pPr>
            <a:r>
              <a:rPr lang="x-none" sz="907" b="1" dirty="0">
                <a:solidFill>
                  <a:srgbClr val="0070CE"/>
                </a:solidFill>
              </a:rPr>
              <a:t>Со-исполнитель</a:t>
            </a:r>
            <a:r>
              <a:rPr lang="en-US" sz="907" b="1" dirty="0">
                <a:solidFill>
                  <a:srgbClr val="0070CE"/>
                </a:solidFill>
              </a:rPr>
              <a:t>: </a:t>
            </a:r>
            <a:r>
              <a:rPr lang="ru-RU" sz="907" dirty="0">
                <a:solidFill>
                  <a:schemeClr val="tx1"/>
                </a:solidFill>
              </a:rPr>
              <a:t>АО «ЦМП», АО «</a:t>
            </a:r>
            <a:r>
              <a:rPr lang="ru-RU" sz="907" dirty="0" err="1">
                <a:solidFill>
                  <a:schemeClr val="tx1"/>
                </a:solidFill>
              </a:rPr>
              <a:t>ЦБПиАМ</a:t>
            </a:r>
            <a:r>
              <a:rPr lang="ru-RU" sz="907" dirty="0">
                <a:solidFill>
                  <a:schemeClr val="tx1"/>
                </a:solidFill>
              </a:rPr>
              <a:t>», </a:t>
            </a:r>
            <a:r>
              <a:rPr lang="ru-RU" sz="907" dirty="0">
                <a:solidFill>
                  <a:srgbClr val="000000"/>
                </a:solidFill>
                <a:ea typeface="ＭＳ Ｐゴシック"/>
              </a:rPr>
              <a:t>МНЭ, МФ</a:t>
            </a:r>
            <a:endParaRPr lang="en-US" sz="907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3" name="sticker">
            <a:extLst>
              <a:ext uri="{FF2B5EF4-FFF2-40B4-BE49-F238E27FC236}">
                <a16:creationId xmlns:a16="http://schemas.microsoft.com/office/drawing/2014/main" xmlns="" id="{FAC3EEB4-7C56-425E-A186-EC48C0B2D2DE}"/>
              </a:ext>
            </a:extLst>
          </p:cNvPr>
          <p:cNvGrpSpPr/>
          <p:nvPr/>
        </p:nvGrpSpPr>
        <p:grpSpPr>
          <a:xfrm>
            <a:off x="9955404" y="206958"/>
            <a:ext cx="804445" cy="124259"/>
            <a:chOff x="8210628" y="250848"/>
            <a:chExt cx="758427" cy="93195"/>
          </a:xfrm>
        </p:grpSpPr>
        <p:sp>
          <p:nvSpPr>
            <p:cNvPr id="122" name="StickerRectangle">
              <a:extLst>
                <a:ext uri="{FF2B5EF4-FFF2-40B4-BE49-F238E27FC236}">
                  <a16:creationId xmlns:a16="http://schemas.microsoft.com/office/drawing/2014/main" xmlns="" id="{3E5E6EBA-AFF3-4AF0-B6DC-14BD2B291E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10628" y="250848"/>
              <a:ext cx="758427" cy="931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2440" tIns="0" rIns="0" bIns="12440">
              <a:spAutoFit/>
            </a:bodyPr>
            <a:lstStyle/>
            <a:p>
              <a:pPr algn="r" defTabSz="79393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726" dirty="0">
                  <a:solidFill>
                    <a:srgbClr val="808080"/>
                  </a:solidFill>
                  <a:latin typeface="Segoe UI Light"/>
                  <a:ea typeface="ＭＳ Ｐゴシック"/>
                </a:rPr>
                <a:t>ИЛЛЮСТРАТИВНО</a:t>
              </a:r>
            </a:p>
          </p:txBody>
        </p:sp>
        <p:cxnSp>
          <p:nvCxnSpPr>
            <p:cNvPr id="123" name="AutoShape 31">
              <a:extLst>
                <a:ext uri="{FF2B5EF4-FFF2-40B4-BE49-F238E27FC236}">
                  <a16:creationId xmlns:a16="http://schemas.microsoft.com/office/drawing/2014/main" xmlns="" id="{59C4D049-70F9-4DCF-8968-61EA615AB176}"/>
                </a:ext>
              </a:extLst>
            </p:cNvPr>
            <p:cNvCxnSpPr>
              <a:cxnSpLocks noChangeShapeType="1"/>
              <a:stCxn id="122" idx="2"/>
              <a:endCxn id="122" idx="4"/>
            </p:cNvCxnSpPr>
            <p:nvPr/>
          </p:nvCxnSpPr>
          <p:spPr bwMode="gray">
            <a:xfrm>
              <a:off x="8212215" y="250848"/>
              <a:ext cx="0" cy="9316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4" name="AutoShape 32">
              <a:extLst>
                <a:ext uri="{FF2B5EF4-FFF2-40B4-BE49-F238E27FC236}">
                  <a16:creationId xmlns:a16="http://schemas.microsoft.com/office/drawing/2014/main" xmlns="" id="{C5DB6D34-77AE-4998-AE9E-6F34B3DEAEEC}"/>
                </a:ext>
              </a:extLst>
            </p:cNvPr>
            <p:cNvCxnSpPr>
              <a:cxnSpLocks noChangeShapeType="1"/>
              <a:stCxn id="122" idx="4"/>
              <a:endCxn id="122" idx="6"/>
            </p:cNvCxnSpPr>
            <p:nvPr/>
          </p:nvCxnSpPr>
          <p:spPr bwMode="gray">
            <a:xfrm>
              <a:off x="8212215" y="344015"/>
              <a:ext cx="75684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" name="Группа 10"/>
          <p:cNvGrpSpPr/>
          <p:nvPr/>
        </p:nvGrpSpPr>
        <p:grpSpPr>
          <a:xfrm>
            <a:off x="1432153" y="586595"/>
            <a:ext cx="4624865" cy="3289140"/>
            <a:chOff x="174948" y="626220"/>
            <a:chExt cx="4292891" cy="2143565"/>
          </a:xfrm>
        </p:grpSpPr>
        <p:sp>
          <p:nvSpPr>
            <p:cNvPr id="157" name="Rectangle 7"/>
            <p:cNvSpPr>
              <a:spLocks noChangeArrowheads="1"/>
            </p:cNvSpPr>
            <p:nvPr/>
          </p:nvSpPr>
          <p:spPr bwMode="gray">
            <a:xfrm>
              <a:off x="552048" y="626220"/>
              <a:ext cx="3915791" cy="2143558"/>
            </a:xfrm>
            <a:prstGeom prst="rect">
              <a:avLst/>
            </a:prstGeom>
            <a:solidFill>
              <a:srgbClr val="ECFAFF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15866" rIns="15866" anchor="ctr">
              <a:noAutofit/>
            </a:bodyPr>
            <a:lstStyle/>
            <a:p>
              <a:pPr defTabSz="1059633" fontAlgn="base">
                <a:spcBef>
                  <a:spcPts val="532"/>
                </a:spcBef>
                <a:spcAft>
                  <a:spcPct val="0"/>
                </a:spcAft>
                <a:defRPr/>
              </a:pPr>
              <a:endParaRPr lang="en-US" sz="952" dirty="0">
                <a:solidFill>
                  <a:srgbClr val="000000"/>
                </a:solidFill>
                <a:latin typeface="Segoe UI Light"/>
                <a:ea typeface="MS PGothic" pitchFamily="34" charset="-128"/>
              </a:endParaRPr>
            </a:p>
          </p:txBody>
        </p:sp>
        <p:sp>
          <p:nvSpPr>
            <p:cNvPr id="158" name="Round Same Side Corner Rectangle 157"/>
            <p:cNvSpPr>
              <a:spLocks/>
            </p:cNvSpPr>
            <p:nvPr/>
          </p:nvSpPr>
          <p:spPr>
            <a:xfrm rot="16200000">
              <a:off x="-711473" y="1512643"/>
              <a:ext cx="2143563" cy="370722"/>
            </a:xfrm>
            <a:prstGeom prst="round2SameRect">
              <a:avLst/>
            </a:prstGeom>
            <a:solidFill>
              <a:srgbClr val="DDF4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6326" rIns="0" bIns="16326" rtlCol="0" anchor="ctr">
              <a:noAutofit/>
            </a:bodyPr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Краткое</a:t>
              </a:r>
              <a:endParaRPr lang="en-US" sz="952" b="1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описание</a:t>
              </a:r>
              <a:r>
                <a:rPr lang="x-none" sz="952" b="1">
                  <a:solidFill>
                    <a:srgbClr val="0070CE"/>
                  </a:solidFill>
                  <a:latin typeface="Segoe UI Light"/>
                  <a:ea typeface="ＭＳ Ｐゴシック"/>
                </a:rPr>
                <a:t> </a:t>
              </a:r>
              <a:r>
                <a:rPr lang="ru-RU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м</a:t>
              </a:r>
              <a:r>
                <a:rPr lang="x-none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е</a:t>
              </a:r>
              <a:r>
                <a:rPr lang="ru-RU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р</a:t>
              </a:r>
              <a:r>
                <a:rPr lang="x-none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ы</a:t>
              </a:r>
              <a:endParaRPr lang="en-US" sz="952" b="1" baseline="30000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</p:txBody>
        </p:sp>
        <p:cxnSp>
          <p:nvCxnSpPr>
            <p:cNvPr id="83" name="Straight Connector 82"/>
            <p:cNvCxnSpPr>
              <a:cxnSpLocks/>
            </p:cNvCxnSpPr>
            <p:nvPr/>
          </p:nvCxnSpPr>
          <p:spPr>
            <a:xfrm>
              <a:off x="552047" y="626221"/>
              <a:ext cx="0" cy="521262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xmlns="" id="{47F94ED9-EDCC-4E66-AF74-917634F0187B}"/>
                </a:ext>
              </a:extLst>
            </p:cNvPr>
            <p:cNvSpPr txBox="1"/>
            <p:nvPr/>
          </p:nvSpPr>
          <p:spPr>
            <a:xfrm>
              <a:off x="604946" y="627362"/>
              <a:ext cx="3811779" cy="210066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85122" eaLnBrk="1" latinLnBrk="0" hangingPunct="1">
                <a:buClr>
                  <a:schemeClr val="tx2"/>
                </a:buClr>
                <a:buSzPct val="100000"/>
                <a:defRPr sz="1071" baseline="0">
                  <a:latin typeface="+mn-lt"/>
                </a:defRPr>
              </a:lvl1pPr>
              <a:lvl2pPr marL="148200" lvl="1" indent="-146986" defTabSz="685122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71" baseline="0">
                  <a:latin typeface="+mn-lt"/>
                </a:defRPr>
              </a:lvl2pPr>
              <a:lvl3pPr marL="349849" lvl="2" indent="-200435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071" baseline="0">
                  <a:latin typeface="+mn-lt"/>
                </a:defRPr>
              </a:lvl3pPr>
              <a:lvl4pPr marL="470111" lvl="3" indent="-119046" defTabSz="685122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71" baseline="0">
                  <a:latin typeface="+mn-lt"/>
                </a:defRPr>
              </a:lvl4pPr>
              <a:lvl5pPr marL="573753" lvl="4" indent="-99610" defTabSz="68512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071" baseline="0">
                  <a:latin typeface="+mn-lt"/>
                </a:defRPr>
              </a:lvl5pPr>
              <a:lvl6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6pPr>
              <a:lvl7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7pPr>
              <a:lvl8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8pPr>
              <a:lvl9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9pPr>
            </a:lstStyle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b="1" dirty="0">
                  <a:solidFill>
                    <a:schemeClr val="tx2"/>
                  </a:solidFill>
                </a:rPr>
                <a:t>Контекст. </a:t>
              </a:r>
              <a:r>
                <a:rPr lang="ru-RU" sz="952" dirty="0"/>
                <a:t>Согласно данным ЮНЕСКО </a:t>
              </a:r>
              <a:r>
                <a:rPr lang="kk-KZ" sz="952" dirty="0"/>
                <a:t>в 2002 году </a:t>
              </a:r>
              <a:r>
                <a:rPr lang="ru-RU" sz="952" dirty="0"/>
                <a:t>численность международных студентов </a:t>
              </a:r>
              <a:r>
                <a:rPr lang="kk-KZ" sz="952" dirty="0"/>
                <a:t>в </a:t>
              </a:r>
              <a:r>
                <a:rPr lang="ru-RU" sz="952" dirty="0"/>
                <a:t>мире составляла 2,1 млн. чел., </a:t>
              </a:r>
              <a:r>
                <a:rPr lang="kk-KZ" sz="952" dirty="0"/>
                <a:t>в 2009 году – 3,4 млн. </a:t>
              </a:r>
              <a:r>
                <a:rPr lang="ru-RU" sz="952" dirty="0"/>
                <a:t>человек, а в настоящее время оценивается на уровне 5,8 млн. человек. Ожидается, что к 2025 году 9 млн. студентов будут получать высшее образование за рубежом.</a:t>
              </a:r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dirty="0"/>
                <a:t>Лидерами международного образования по-прежнему являются англоязычные страны – США, Великобритания, Австралия, Канада и Новая Зеландия, а также Германия и Франция. На их долю приходится более 60% мобильных студентов.</a:t>
              </a:r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b="1" dirty="0">
                  <a:solidFill>
                    <a:schemeClr val="tx2"/>
                  </a:solidFill>
                </a:rPr>
                <a:t>Существующая проблема.</a:t>
              </a:r>
              <a:r>
                <a:rPr lang="ru-RU" sz="952" dirty="0"/>
                <a:t> Низкая доля иностранных студентов – 6,68% от общего количества обучающихся. В развитых странах мира доля иностранных студентов превышает 10%, а в отдельных странах, как Великобритания, Швейцария и Новая </a:t>
              </a:r>
              <a:r>
                <a:rPr lang="kk-KZ" sz="952" dirty="0"/>
                <a:t>Зеландия, </a:t>
              </a:r>
              <a:r>
                <a:rPr lang="ru-RU" sz="952" dirty="0"/>
                <a:t>достигает </a:t>
              </a:r>
              <a:r>
                <a:rPr lang="kk-KZ" sz="952" dirty="0"/>
                <a:t>18-20%.</a:t>
              </a:r>
              <a:endParaRPr lang="ru-RU" sz="952" dirty="0"/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b="1" dirty="0">
                  <a:solidFill>
                    <a:schemeClr val="tx2"/>
                  </a:solidFill>
                </a:rPr>
                <a:t>Целью проекта является </a:t>
              </a:r>
              <a:r>
                <a:rPr lang="ru-RU" sz="952" dirty="0"/>
                <a:t>популяризация казахстанского высшего образования среди целевой аудитории зарубежных стран – Индия, Пакистан, Афганистан, Китай, Узбекистан (диаспора), Киргизия (диаспора), Монголия (диаспора).</a:t>
              </a:r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dirty="0"/>
                <a:t>На сегодняшний день популярны только отдельные направления подготовки – медицинские, языковые (русский язык).</a:t>
              </a:r>
            </a:p>
            <a:p>
              <a:pPr marL="0" lvl="1" indent="108539">
                <a:buClr>
                  <a:srgbClr val="0070CE"/>
                </a:buClr>
                <a:buNone/>
                <a:defRPr/>
              </a:pPr>
              <a:r>
                <a:rPr lang="ru-RU" sz="952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Увеличение числа иностранных студентов станет не только источником дополнительного дохода для вузов и местной экономики, но и будет способствовать </a:t>
              </a:r>
              <a:r>
                <a:rPr lang="ru-RU" sz="952" dirty="0"/>
                <a:t>аккумуляции знаний, инноваций и талантов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D8D92ED-034E-452C-9E02-17743737A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150" y="190012"/>
            <a:ext cx="9327705" cy="3436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ru-RU" sz="1814" b="1" dirty="0"/>
              <a:t>Пример проекта: Привлечение иностранных студентов</a:t>
            </a:r>
            <a:endParaRPr lang="en-GB" sz="1814" b="1" dirty="0"/>
          </a:p>
        </p:txBody>
      </p:sp>
      <p:grpSp>
        <p:nvGrpSpPr>
          <p:cNvPr id="12" name="Группа 11"/>
          <p:cNvGrpSpPr/>
          <p:nvPr/>
        </p:nvGrpSpPr>
        <p:grpSpPr>
          <a:xfrm>
            <a:off x="1423169" y="3931632"/>
            <a:ext cx="4624867" cy="994624"/>
            <a:chOff x="174945" y="2621154"/>
            <a:chExt cx="4360301" cy="745968"/>
          </a:xfrm>
        </p:grpSpPr>
        <p:sp>
          <p:nvSpPr>
            <p:cNvPr id="69" name="Rectangle 7">
              <a:extLst>
                <a:ext uri="{FF2B5EF4-FFF2-40B4-BE49-F238E27FC236}">
                  <a16:creationId xmlns:a16="http://schemas.microsoft.com/office/drawing/2014/main" xmlns="" id="{13348A29-2574-4DFD-A8A2-4903F850C26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2047" y="2621154"/>
              <a:ext cx="3983199" cy="745968"/>
            </a:xfrm>
            <a:prstGeom prst="rect">
              <a:avLst/>
            </a:prstGeom>
            <a:solidFill>
              <a:srgbClr val="ECFAFF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15866" rIns="15866" anchor="t">
              <a:noAutofit/>
            </a:bodyPr>
            <a:lstStyle/>
            <a:p>
              <a:pPr marL="171738" lvl="1" indent="-170331" defTabSz="793939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25000"/>
                <a:buFont typeface="Arial" charset="0"/>
                <a:buChar char="▪"/>
                <a:defRPr/>
              </a:pPr>
              <a:endParaRPr lang="ru-RU" sz="952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0" name="Round Same Side Corner Rectangle 276">
              <a:extLst>
                <a:ext uri="{FF2B5EF4-FFF2-40B4-BE49-F238E27FC236}">
                  <a16:creationId xmlns:a16="http://schemas.microsoft.com/office/drawing/2014/main" xmlns="" id="{CD65DFF1-D949-4AED-B750-D0323D7FFDD6}"/>
                </a:ext>
              </a:extLst>
            </p:cNvPr>
            <p:cNvSpPr>
              <a:spLocks/>
            </p:cNvSpPr>
            <p:nvPr/>
          </p:nvSpPr>
          <p:spPr>
            <a:xfrm rot="16200000">
              <a:off x="-9486" y="2805585"/>
              <a:ext cx="745968" cy="377106"/>
            </a:xfrm>
            <a:prstGeom prst="round2SameRect">
              <a:avLst/>
            </a:prstGeom>
            <a:solidFill>
              <a:srgbClr val="DDF4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986" tIns="24986" rIns="24986" bIns="24986" rtlCol="0" anchor="ctr">
              <a:noAutofit/>
            </a:bodyPr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КПЭ</a:t>
              </a:r>
              <a:endParaRPr lang="en-US" sz="952" b="1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xmlns="" id="{5ECD3CED-F77D-488C-AB0D-B63CAE69F6EF}"/>
                </a:ext>
              </a:extLst>
            </p:cNvPr>
            <p:cNvSpPr txBox="1"/>
            <p:nvPr/>
          </p:nvSpPr>
          <p:spPr>
            <a:xfrm>
              <a:off x="604946" y="2703088"/>
              <a:ext cx="3877397" cy="60713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85122" eaLnBrk="1" latinLnBrk="0" hangingPunct="1">
                <a:buClr>
                  <a:schemeClr val="tx2"/>
                </a:buClr>
                <a:buSzPct val="100000"/>
                <a:defRPr sz="1071" baseline="0">
                  <a:latin typeface="+mn-lt"/>
                </a:defRPr>
              </a:lvl1pPr>
              <a:lvl2pPr marL="148200" lvl="1" indent="-146986" defTabSz="685122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71" baseline="0">
                  <a:latin typeface="+mn-lt"/>
                </a:defRPr>
              </a:lvl2pPr>
              <a:lvl3pPr marL="349849" lvl="2" indent="-200435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071" baseline="0">
                  <a:latin typeface="+mn-lt"/>
                </a:defRPr>
              </a:lvl3pPr>
              <a:lvl4pPr marL="470111" lvl="3" indent="-119046" defTabSz="685122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71" baseline="0">
                  <a:latin typeface="+mn-lt"/>
                </a:defRPr>
              </a:lvl4pPr>
              <a:lvl5pPr marL="573753" lvl="4" indent="-99610" defTabSz="68512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071" baseline="0">
                  <a:latin typeface="+mn-lt"/>
                </a:defRPr>
              </a:lvl5pPr>
              <a:lvl6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6pPr>
              <a:lvl7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7pPr>
              <a:lvl8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8pPr>
              <a:lvl9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9pPr>
            </a:lstStyle>
            <a:p>
              <a:pPr lvl="1">
                <a:spcBef>
                  <a:spcPts val="348"/>
                </a:spcBef>
                <a:spcAft>
                  <a:spcPts val="348"/>
                </a:spcAft>
                <a:buClr>
                  <a:srgbClr val="0070CE"/>
                </a:buClr>
                <a:defRPr/>
              </a:pPr>
              <a:r>
                <a:rPr lang="ru-RU" sz="952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Доля иностранных студентов в системе высшего образования, в </a:t>
              </a:r>
              <a:r>
                <a:rPr lang="ru-RU" sz="952" dirty="0" err="1">
                  <a:solidFill>
                    <a:srgbClr val="000000"/>
                  </a:solidFill>
                  <a:ea typeface="MS PGothic" panose="020B0600070205080204" pitchFamily="34" charset="-128"/>
                </a:rPr>
                <a:t>т.ч</a:t>
              </a:r>
              <a:r>
                <a:rPr lang="ru-RU" sz="952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. обучающихся на коммерческой основе увеличится  с 6,68% в 2019 году до 10% в 2025 году</a:t>
              </a:r>
            </a:p>
            <a:p>
              <a:pPr lvl="1">
                <a:spcBef>
                  <a:spcPts val="348"/>
                </a:spcBef>
                <a:spcAft>
                  <a:spcPts val="348"/>
                </a:spcAft>
                <a:buClr>
                  <a:srgbClr val="0070CE"/>
                </a:buClr>
                <a:defRPr/>
              </a:pPr>
              <a:r>
                <a:rPr lang="ru-RU" sz="952" dirty="0"/>
                <a:t>Доля образовательных программ ВУЗов на английском языке увеличится с 5% в 2019 году до 10% в 2025 году </a:t>
              </a:r>
              <a:endParaRPr lang="ru-RU" sz="952" b="1" i="1" dirty="0"/>
            </a:p>
          </p:txBody>
        </p:sp>
      </p:grpSp>
      <p:sp>
        <p:nvSpPr>
          <p:cNvPr id="175" name="Rectangle 7"/>
          <p:cNvSpPr>
            <a:spLocks noChangeArrowheads="1"/>
          </p:cNvSpPr>
          <p:nvPr/>
        </p:nvSpPr>
        <p:spPr bwMode="gray">
          <a:xfrm>
            <a:off x="6540137" y="1194769"/>
            <a:ext cx="4120817" cy="5397255"/>
          </a:xfrm>
          <a:prstGeom prst="rect">
            <a:avLst/>
          </a:prstGeom>
          <a:solidFill>
            <a:srgbClr val="ECFAF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40543" tIns="52981" rIns="40543" bIns="52981" anchor="ctr">
            <a:no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52" b="1" dirty="0">
              <a:solidFill>
                <a:srgbClr val="000000"/>
              </a:solidFill>
              <a:latin typeface="Segoe UI Light"/>
              <a:ea typeface="MS PGothic" pitchFamily="34" charset="-128"/>
            </a:endParaRPr>
          </a:p>
        </p:txBody>
      </p:sp>
      <p:sp>
        <p:nvSpPr>
          <p:cNvPr id="176" name="Round Same Side Corner Rectangle 175"/>
          <p:cNvSpPr>
            <a:spLocks/>
          </p:cNvSpPr>
          <p:nvPr/>
        </p:nvSpPr>
        <p:spPr>
          <a:xfrm rot="16200000">
            <a:off x="3633603" y="3697970"/>
            <a:ext cx="5397256" cy="399987"/>
          </a:xfrm>
          <a:prstGeom prst="round2SameRect">
            <a:avLst/>
          </a:prstGeom>
          <a:solidFill>
            <a:srgbClr val="DDF4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847" tIns="63847" rIns="63847" bIns="63847" rtlCol="0" anchor="ctr">
            <a:noAutofit/>
          </a:bodyPr>
          <a:lstStyle/>
          <a:p>
            <a:pPr algn="ctr"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b="1" dirty="0">
                <a:solidFill>
                  <a:srgbClr val="0070CE"/>
                </a:solidFill>
                <a:latin typeface="Segoe UI Light"/>
                <a:ea typeface="ＭＳ Ｐゴシック"/>
              </a:rPr>
              <a:t>Ключевые этапы и сроки</a:t>
            </a:r>
          </a:p>
        </p:txBody>
      </p:sp>
      <p:cxnSp>
        <p:nvCxnSpPr>
          <p:cNvPr id="258" name="Straight Arrow Connector 257"/>
          <p:cNvCxnSpPr>
            <a:cxnSpLocks/>
          </p:cNvCxnSpPr>
          <p:nvPr/>
        </p:nvCxnSpPr>
        <p:spPr>
          <a:xfrm>
            <a:off x="6693748" y="1199339"/>
            <a:ext cx="0" cy="518400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Oval 258"/>
          <p:cNvSpPr txBox="1"/>
          <p:nvPr>
            <p:custDataLst>
              <p:tags r:id="rId4"/>
            </p:custDataLst>
          </p:nvPr>
        </p:nvSpPr>
        <p:spPr>
          <a:xfrm>
            <a:off x="6625016" y="1223196"/>
            <a:ext cx="137464" cy="202417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260" name="Oval 258"/>
          <p:cNvSpPr txBox="1"/>
          <p:nvPr>
            <p:custDataLst>
              <p:tags r:id="rId5"/>
            </p:custDataLst>
          </p:nvPr>
        </p:nvSpPr>
        <p:spPr>
          <a:xfrm>
            <a:off x="6620719" y="1510013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267" name="TextBox 266"/>
          <p:cNvSpPr txBox="1">
            <a:spLocks/>
          </p:cNvSpPr>
          <p:nvPr/>
        </p:nvSpPr>
        <p:spPr>
          <a:xfrm>
            <a:off x="6830617" y="4791958"/>
            <a:ext cx="3723900" cy="418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</a:t>
            </a: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Модернизация инфраструктуры вузов и создание условий обучения и проживания в соответствии с международными стандартами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1423169" y="4965171"/>
            <a:ext cx="4624867" cy="1632181"/>
            <a:chOff x="174945" y="3966096"/>
            <a:chExt cx="4360301" cy="1224136"/>
          </a:xfrm>
        </p:grpSpPr>
        <p:sp>
          <p:nvSpPr>
            <p:cNvPr id="284" name="Rectangle 7"/>
            <p:cNvSpPr>
              <a:spLocks noChangeArrowheads="1"/>
            </p:cNvSpPr>
            <p:nvPr/>
          </p:nvSpPr>
          <p:spPr bwMode="gray">
            <a:xfrm>
              <a:off x="552047" y="3966096"/>
              <a:ext cx="3983199" cy="1224136"/>
            </a:xfrm>
            <a:prstGeom prst="rect">
              <a:avLst/>
            </a:prstGeom>
            <a:solidFill>
              <a:srgbClr val="ECFAFF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15866" rIns="15866" anchor="t">
              <a:noAutofit/>
            </a:bodyPr>
            <a:lstStyle/>
            <a:p>
              <a:pPr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52" b="1" dirty="0">
                <a:solidFill>
                  <a:srgbClr val="000000"/>
                </a:solidFill>
                <a:latin typeface="Segoe UI Light"/>
                <a:ea typeface="MS PGothic" pitchFamily="34" charset="-128"/>
              </a:endParaRPr>
            </a:p>
          </p:txBody>
        </p:sp>
        <p:sp>
          <p:nvSpPr>
            <p:cNvPr id="285" name="Round Same Side Corner Rectangle 284"/>
            <p:cNvSpPr>
              <a:spLocks/>
            </p:cNvSpPr>
            <p:nvPr/>
          </p:nvSpPr>
          <p:spPr>
            <a:xfrm rot="16200000">
              <a:off x="-248570" y="4389611"/>
              <a:ext cx="1224136" cy="377106"/>
            </a:xfrm>
            <a:prstGeom prst="round2SameRect">
              <a:avLst/>
            </a:prstGeom>
            <a:solidFill>
              <a:srgbClr val="DDF4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4986" tIns="24986" rIns="24986" bIns="24986" rtlCol="0" anchor="ctr">
              <a:noAutofit/>
            </a:bodyPr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x-none" sz="952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Ресурсы</a:t>
              </a:r>
              <a:endParaRPr lang="en-US" sz="952" b="1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</p:txBody>
        </p:sp>
        <p:grpSp>
          <p:nvGrpSpPr>
            <p:cNvPr id="71" name="ACET"/>
            <p:cNvGrpSpPr>
              <a:grpSpLocks/>
            </p:cNvGrpSpPr>
            <p:nvPr/>
          </p:nvGrpSpPr>
          <p:grpSpPr bwMode="gray">
            <a:xfrm>
              <a:off x="604946" y="3997417"/>
              <a:ext cx="3877397" cy="114921"/>
              <a:chOff x="915" y="890"/>
              <a:chExt cx="2686" cy="140"/>
            </a:xfrm>
          </p:grpSpPr>
          <p:cxnSp>
            <p:nvCxnSpPr>
              <p:cNvPr id="72" name="AutoShape 249"/>
              <p:cNvCxnSpPr>
                <a:cxnSpLocks noChangeShapeType="1"/>
                <a:stCxn id="73" idx="4"/>
                <a:endCxn id="73" idx="6"/>
              </p:cNvCxnSpPr>
              <p:nvPr/>
            </p:nvCxnSpPr>
            <p:spPr bwMode="gray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73" name="AutoShape 250"/>
              <p:cNvSpPr>
                <a:spLocks noChangeArrowheads="1"/>
              </p:cNvSpPr>
              <p:nvPr/>
            </p:nvSpPr>
            <p:spPr bwMode="gray">
              <a:xfrm>
                <a:off x="915" y="890"/>
                <a:ext cx="2686" cy="140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6347" anchor="b">
                <a:spAutoFit/>
              </a:bodyPr>
              <a:lstStyle/>
              <a:p>
                <a:pPr defTabSz="105963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952" dirty="0">
                    <a:solidFill>
                      <a:srgbClr val="0070CE"/>
                    </a:solidFill>
                    <a:latin typeface="Segoe UI Light"/>
                    <a:ea typeface="MS PGothic" pitchFamily="34" charset="-128"/>
                  </a:rPr>
                  <a:t>Необходимые ресурсы</a:t>
                </a:r>
                <a:endParaRPr lang="ru-RU" sz="952" dirty="0">
                  <a:solidFill>
                    <a:srgbClr val="000000"/>
                  </a:solidFill>
                  <a:latin typeface="Segoe UI Light"/>
                  <a:ea typeface="MS PGothic" pitchFamily="34" charset="-128"/>
                </a:endParaRPr>
              </a:p>
            </p:txBody>
          </p:sp>
        </p:grpSp>
      </p:grpSp>
      <p:sp>
        <p:nvSpPr>
          <p:cNvPr id="45" name="1. On-page tracker">
            <a:extLst>
              <a:ext uri="{FF2B5EF4-FFF2-40B4-BE49-F238E27FC236}">
                <a16:creationId xmlns:a16="http://schemas.microsoft.com/office/drawing/2014/main" xmlns="" id="{53C3EA5F-C5F0-4EC4-B7B7-5684D47C3C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2151" y="77305"/>
            <a:ext cx="1410643" cy="223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726" cap="all" dirty="0">
                <a:solidFill>
                  <a:srgbClr val="808080"/>
                </a:solidFill>
                <a:latin typeface="Arial"/>
                <a:ea typeface="ＭＳ Ｐゴシック"/>
              </a:rPr>
              <a:t>Направление </a:t>
            </a:r>
            <a:r>
              <a:rPr lang="ru-RU" sz="680" b="1" cap="all" dirty="0">
                <a:latin typeface="Arial"/>
              </a:rPr>
              <a:t>Образование</a:t>
            </a:r>
            <a:endParaRPr lang="en-US" sz="907" b="1" cap="all" dirty="0">
              <a:latin typeface="Arial"/>
            </a:endParaRPr>
          </a:p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26" cap="all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826699" y="3392802"/>
            <a:ext cx="3750058" cy="146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>
              <a:buClr>
                <a:srgbClr val="000000"/>
              </a:buClr>
              <a:defRPr kumimoji="0" sz="8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ＭＳ Ｐゴシック"/>
                <a:cs typeface="Arial" panose="020B0604020202020204" pitchFamily="34" charset="0"/>
              </a:defRPr>
            </a:lvl1pPr>
          </a:lstStyle>
          <a:p>
            <a:r>
              <a:rPr lang="ru-RU" sz="952" dirty="0"/>
              <a:t>На постоянной основе (2020-2021 гг.). </a:t>
            </a:r>
            <a:r>
              <a:rPr lang="ru-RU" sz="952" b="0" dirty="0">
                <a:solidFill>
                  <a:schemeClr val="tx1"/>
                </a:solidFill>
              </a:rPr>
              <a:t>Прием документов онлайн</a:t>
            </a:r>
          </a:p>
        </p:txBody>
      </p:sp>
      <p:sp>
        <p:nvSpPr>
          <p:cNvPr id="60" name="Oval 258"/>
          <p:cNvSpPr txBox="1"/>
          <p:nvPr>
            <p:custDataLst>
              <p:tags r:id="rId6"/>
            </p:custDataLst>
          </p:nvPr>
        </p:nvSpPr>
        <p:spPr>
          <a:xfrm>
            <a:off x="6629735" y="1861412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2" name="Oval 258"/>
          <p:cNvSpPr txBox="1"/>
          <p:nvPr>
            <p:custDataLst>
              <p:tags r:id="rId7"/>
            </p:custDataLst>
          </p:nvPr>
        </p:nvSpPr>
        <p:spPr>
          <a:xfrm>
            <a:off x="6629735" y="2192643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4" name="Oval 258"/>
          <p:cNvSpPr txBox="1"/>
          <p:nvPr>
            <p:custDataLst>
              <p:tags r:id="rId8"/>
            </p:custDataLst>
          </p:nvPr>
        </p:nvSpPr>
        <p:spPr>
          <a:xfrm>
            <a:off x="6629735" y="2698527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6" name="Oval 258"/>
          <p:cNvSpPr txBox="1"/>
          <p:nvPr>
            <p:custDataLst>
              <p:tags r:id="rId9"/>
            </p:custDataLst>
          </p:nvPr>
        </p:nvSpPr>
        <p:spPr>
          <a:xfrm>
            <a:off x="6620719" y="3362685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86" name="TextBox 85"/>
          <p:cNvSpPr txBox="1">
            <a:spLocks/>
          </p:cNvSpPr>
          <p:nvPr/>
        </p:nvSpPr>
        <p:spPr>
          <a:xfrm>
            <a:off x="6826698" y="3983251"/>
            <a:ext cx="3723900" cy="418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Учреждение казахстанскими университетами специальных грантов по принципу «кредитной мобильности» </a:t>
            </a:r>
            <a:r>
              <a:rPr lang="ru-RU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(Жан Моне)</a:t>
            </a:r>
            <a:endParaRPr lang="ru-RU" sz="907" b="1" i="1" dirty="0">
              <a:solidFill>
                <a:srgbClr val="000000"/>
              </a:solidFill>
              <a:latin typeface="+mn-l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6827120" y="2690739"/>
            <a:ext cx="3723900" cy="697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Активизировать работу по вхождению казахстанских вузов, ректоров и студентов в международные ассоциации: </a:t>
            </a:r>
            <a:r>
              <a:rPr lang="en-US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ssociation of American Universities (AAU), European University Association (EUA), Asian Universities Alliance (AUA), European Students' Union (ESU) </a:t>
            </a:r>
          </a:p>
        </p:txBody>
      </p:sp>
      <p:sp>
        <p:nvSpPr>
          <p:cNvPr id="88" name="TextBox 201">
            <a:extLst>
              <a:ext uri="{FF2B5EF4-FFF2-40B4-BE49-F238E27FC236}">
                <a16:creationId xmlns:a16="http://schemas.microsoft.com/office/drawing/2014/main" xmlns="" id="{2D91191C-E677-4EA5-8F84-718E163168FA}"/>
              </a:ext>
            </a:extLst>
          </p:cNvPr>
          <p:cNvSpPr txBox="1">
            <a:spLocks/>
          </p:cNvSpPr>
          <p:nvPr/>
        </p:nvSpPr>
        <p:spPr bwMode="auto">
          <a:xfrm>
            <a:off x="1886422" y="5283777"/>
            <a:ext cx="4105501" cy="139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eaLnBrk="1" hangingPunct="1">
              <a:buClr>
                <a:srgbClr val="002960"/>
              </a:buClr>
              <a:buSzPct val="125000"/>
              <a:defRPr/>
            </a:pPr>
            <a:r>
              <a:rPr lang="ru-RU" sz="907" dirty="0">
                <a:solidFill>
                  <a:srgbClr val="000000"/>
                </a:solidFill>
                <a:latin typeface="+mn-lt"/>
              </a:rPr>
              <a:t>Уточняется</a:t>
            </a:r>
            <a:endParaRPr lang="ru-RU" sz="907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6815836" y="1261465"/>
            <a:ext cx="3723900" cy="139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</a:t>
            </a: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Привлечение топ-менеджеров </a:t>
            </a: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6815836" y="1508788"/>
            <a:ext cx="3723900" cy="279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</a:t>
            </a:r>
            <a:r>
              <a:rPr lang="ru-RU" sz="907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Привлечение иностранных граждан в рамках академической мобильности</a:t>
            </a:r>
          </a:p>
        </p:txBody>
      </p:sp>
      <p:sp>
        <p:nvSpPr>
          <p:cNvPr id="52" name="Oval 258"/>
          <p:cNvSpPr txBox="1"/>
          <p:nvPr>
            <p:custDataLst>
              <p:tags r:id="rId10"/>
            </p:custDataLst>
          </p:nvPr>
        </p:nvSpPr>
        <p:spPr>
          <a:xfrm>
            <a:off x="6623810" y="3641679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53" name="Oval 258"/>
          <p:cNvSpPr txBox="1"/>
          <p:nvPr>
            <p:custDataLst>
              <p:tags r:id="rId11"/>
            </p:custDataLst>
          </p:nvPr>
        </p:nvSpPr>
        <p:spPr>
          <a:xfrm>
            <a:off x="6623810" y="3996846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54" name="Oval 258"/>
          <p:cNvSpPr txBox="1"/>
          <p:nvPr>
            <p:custDataLst>
              <p:tags r:id="rId12"/>
            </p:custDataLst>
          </p:nvPr>
        </p:nvSpPr>
        <p:spPr>
          <a:xfrm>
            <a:off x="6629735" y="4490325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55" name="Oval 258"/>
          <p:cNvSpPr txBox="1"/>
          <p:nvPr>
            <p:custDataLst>
              <p:tags r:id="rId13"/>
            </p:custDataLst>
          </p:nvPr>
        </p:nvSpPr>
        <p:spPr>
          <a:xfrm>
            <a:off x="6625016" y="4799273"/>
            <a:ext cx="137464" cy="20241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3379" tIns="0" rIns="3379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1037557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907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57" name="TextBox 56"/>
          <p:cNvSpPr txBox="1">
            <a:spLocks/>
          </p:cNvSpPr>
          <p:nvPr/>
        </p:nvSpPr>
        <p:spPr>
          <a:xfrm>
            <a:off x="6826698" y="1861412"/>
            <a:ext cx="3723900" cy="279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В течение года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Повышение позиционирования вузов в международных рейтингах</a:t>
            </a: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6826699" y="2189706"/>
            <a:ext cx="3790854" cy="418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Проработка вопроса открытия представительств ведущих ВУЗов мира в Казахстане </a:t>
            </a:r>
            <a:r>
              <a:rPr lang="ru-RU" sz="907" i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(по списку приоритетных стран)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829938" y="3627192"/>
            <a:ext cx="3750058" cy="293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>
              <a:buClr>
                <a:srgbClr val="000000"/>
              </a:buClr>
              <a:defRPr kumimoji="0" sz="800" b="1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ＭＳ Ｐゴシック"/>
                <a:cs typeface="Arial" panose="020B0604020202020204" pitchFamily="34" charset="0"/>
              </a:defRPr>
            </a:lvl1pPr>
          </a:lstStyle>
          <a:p>
            <a:r>
              <a:rPr lang="ru-RU" sz="952" dirty="0"/>
              <a:t>На постоянной основе (2020-2021 гг.). </a:t>
            </a:r>
            <a:r>
              <a:rPr lang="ru-RU" sz="952" b="0" dirty="0">
                <a:solidFill>
                  <a:schemeClr val="tx1"/>
                </a:solidFill>
              </a:rPr>
              <a:t>Гранты в рамках международных договоров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6827120" y="4528594"/>
            <a:ext cx="3723900" cy="139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buClr>
                <a:srgbClr val="000000"/>
              </a:buClr>
              <a:defRPr/>
            </a:pPr>
            <a:r>
              <a:rPr lang="ru-RU" sz="907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На постоянной основе (2020-2021 гг.). </a:t>
            </a:r>
            <a:r>
              <a:rPr lang="ru-RU" sz="907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Организация летних лагерей </a:t>
            </a:r>
            <a:endParaRPr lang="ru-RU" sz="907" b="1" i="1" dirty="0">
              <a:solidFill>
                <a:srgbClr val="000000"/>
              </a:solidFill>
              <a:latin typeface="+mn-lt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6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898" name="Object 1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460421" y="1590"/>
          <a:ext cx="1262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0898" name="Object 1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60421" y="1590"/>
                        <a:ext cx="1262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F67C800-F02E-4CEB-9ED6-87CBF06325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46590" y="0"/>
            <a:ext cx="168382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816" dirty="0" err="1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0900" name="TextBox 150"/>
          <p:cNvSpPr txBox="1">
            <a:spLocks noChangeArrowheads="1"/>
          </p:cNvSpPr>
          <p:nvPr/>
        </p:nvSpPr>
        <p:spPr bwMode="auto">
          <a:xfrm>
            <a:off x="1522124" y="333004"/>
            <a:ext cx="9147752" cy="558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Г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а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в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н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ы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й 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с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п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о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н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т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е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ь</a:t>
            </a:r>
          </a:p>
          <a:p>
            <a:pPr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907" i="1" dirty="0">
                <a:solidFill>
                  <a:srgbClr val="000000"/>
                </a:solidFill>
                <a:ea typeface="ＭＳ Ｐゴシック"/>
              </a:rPr>
              <a:t>ФИО</a:t>
            </a:r>
            <a:endParaRPr lang="ru-RU" sz="907" dirty="0">
              <a:solidFill>
                <a:srgbClr val="D9D9D9"/>
              </a:solidFill>
              <a:ea typeface="ＭＳ Ｐゴシック"/>
            </a:endParaRPr>
          </a:p>
          <a:p>
            <a:pPr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Со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-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исполнители</a:t>
            </a:r>
          </a:p>
          <a:p>
            <a:pPr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907" i="1" dirty="0">
                <a:solidFill>
                  <a:srgbClr val="000000"/>
                </a:solidFill>
                <a:ea typeface="ＭＳ Ｐゴシック"/>
              </a:rPr>
              <a:t>ФИО</a:t>
            </a:r>
            <a:endParaRPr lang="ru-RU" sz="907" i="1" dirty="0">
              <a:solidFill>
                <a:srgbClr val="D9D9D9"/>
              </a:solidFill>
              <a:ea typeface="ＭＳ Ｐゴシック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7228129" y="434514"/>
          <a:ext cx="3347482" cy="6872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74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373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u="none" strike="noStrike" dirty="0">
                          <a:effectLst/>
                        </a:rPr>
                        <a:t>НАПРАВЛЕНИЕ: </a:t>
                      </a:r>
                      <a:r>
                        <a:rPr lang="ru-RU" sz="1100" b="0" u="none" strike="noStrike" dirty="0">
                          <a:effectLst/>
                        </a:rPr>
                        <a:t>Образование</a:t>
                      </a:r>
                      <a:r>
                        <a:rPr lang="ru-RU" sz="1100" b="0" u="none" strike="noStrike" baseline="0" dirty="0">
                          <a:effectLst/>
                        </a:rPr>
                        <a:t> – основа личного благополуч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18" marR="4418" marT="556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143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u="none" strike="noStrike" dirty="0">
                          <a:effectLst/>
                        </a:rPr>
                        <a:t>МЕРА: </a:t>
                      </a:r>
                      <a:r>
                        <a:rPr lang="ru-RU" sz="1100" b="0" u="none" strike="noStrike" dirty="0">
                          <a:effectLst/>
                        </a:rPr>
                        <a:t>Привлечение иностранных студенто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18" marR="4418" marT="556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1436">
                <a:tc>
                  <a:txBody>
                    <a:bodyPr/>
                    <a:lstStyle/>
                    <a:p>
                      <a:pPr algn="l" fontAlgn="b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18" marR="4418" marT="556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80912" name="Rectangle 28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18522" y="937005"/>
            <a:ext cx="9147752" cy="557884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64861" tIns="64861" rIns="64861" bIns="64861"/>
          <a:lstStyle>
            <a:lvl1pPr marL="342900" indent="-3429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24436" lvl="1" indent="-222597"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itchFamily="34" charset="0"/>
              <a:buChar char="▪"/>
              <a:defRPr/>
            </a:pPr>
            <a:endParaRPr lang="ru-RU" sz="907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80917" name="AutoShape 250"/>
          <p:cNvSpPr>
            <a:spLocks noChangeArrowheads="1"/>
          </p:cNvSpPr>
          <p:nvPr/>
        </p:nvSpPr>
        <p:spPr bwMode="gray">
          <a:xfrm>
            <a:off x="1842520" y="1286179"/>
            <a:ext cx="1451683" cy="15596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Мероприятие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sp>
        <p:nvSpPr>
          <p:cNvPr id="80921" name="AutoShape 250"/>
          <p:cNvSpPr>
            <a:spLocks noChangeArrowheads="1"/>
          </p:cNvSpPr>
          <p:nvPr/>
        </p:nvSpPr>
        <p:spPr bwMode="gray">
          <a:xfrm>
            <a:off x="4517123" y="1146591"/>
            <a:ext cx="1243591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Персональный ответственный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sp>
        <p:nvSpPr>
          <p:cNvPr id="80919" name="AutoShape 250"/>
          <p:cNvSpPr>
            <a:spLocks noChangeArrowheads="1"/>
          </p:cNvSpPr>
          <p:nvPr/>
        </p:nvSpPr>
        <p:spPr bwMode="gray">
          <a:xfrm>
            <a:off x="3385036" y="1146591"/>
            <a:ext cx="972744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Ответственная организация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sp>
        <p:nvSpPr>
          <p:cNvPr id="80923" name="AutoShape 250"/>
          <p:cNvSpPr>
            <a:spLocks noChangeArrowheads="1"/>
          </p:cNvSpPr>
          <p:nvPr/>
        </p:nvSpPr>
        <p:spPr bwMode="gray">
          <a:xfrm>
            <a:off x="5914499" y="1146590"/>
            <a:ext cx="1243591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Организации </a:t>
            </a:r>
            <a:b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</a:b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со</a:t>
            </a:r>
            <a:r>
              <a:rPr lang="x-none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-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ru-RU" sz="907" dirty="0" err="1">
                <a:solidFill>
                  <a:srgbClr val="0065BD"/>
                </a:solidFill>
                <a:latin typeface="Arial" charset="0"/>
                <a:ea typeface="ＭＳ Ｐゴシック"/>
              </a:rPr>
              <a:t>сполнители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sp>
        <p:nvSpPr>
          <p:cNvPr id="80925" name="AutoShape 250"/>
          <p:cNvSpPr>
            <a:spLocks noChangeArrowheads="1"/>
          </p:cNvSpPr>
          <p:nvPr/>
        </p:nvSpPr>
        <p:spPr bwMode="gray">
          <a:xfrm>
            <a:off x="7305933" y="1146590"/>
            <a:ext cx="921546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Срок исполнения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sp>
        <p:nvSpPr>
          <p:cNvPr id="80927" name="AutoShape 250"/>
          <p:cNvSpPr>
            <a:spLocks noChangeArrowheads="1"/>
          </p:cNvSpPr>
          <p:nvPr/>
        </p:nvSpPr>
        <p:spPr bwMode="gray">
          <a:xfrm>
            <a:off x="8430420" y="1146591"/>
            <a:ext cx="1066810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Конкретный результат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sp>
        <p:nvSpPr>
          <p:cNvPr id="80935" name="AutoShape 250"/>
          <p:cNvSpPr>
            <a:spLocks noChangeArrowheads="1"/>
          </p:cNvSpPr>
          <p:nvPr/>
        </p:nvSpPr>
        <p:spPr bwMode="gray">
          <a:xfrm>
            <a:off x="9596475" y="1146591"/>
            <a:ext cx="786122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Бюджет (потребность)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58725" y="1412776"/>
            <a:ext cx="8916886" cy="1464120"/>
            <a:chOff x="388559" y="1081606"/>
            <a:chExt cx="8406795" cy="1098090"/>
          </a:xfrm>
          <a:solidFill>
            <a:schemeClr val="accent5">
              <a:lumMod val="20000"/>
              <a:lumOff val="80000"/>
            </a:schemeClr>
          </a:solidFill>
        </p:grpSpPr>
        <p:cxnSp>
          <p:nvCxnSpPr>
            <p:cNvPr id="163" name="AutoShape 249"/>
            <p:cNvCxnSpPr>
              <a:cxnSpLocks noChangeShapeType="1"/>
            </p:cNvCxnSpPr>
            <p:nvPr/>
          </p:nvCxnSpPr>
          <p:spPr bwMode="gray">
            <a:xfrm>
              <a:off x="561840" y="1081606"/>
              <a:ext cx="1368639" cy="0"/>
            </a:xfrm>
            <a:prstGeom prst="straightConnector1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/>
          </p:spPr>
        </p:cxnSp>
        <p:cxnSp>
          <p:nvCxnSpPr>
            <p:cNvPr id="167" name="AutoShape 249"/>
            <p:cNvCxnSpPr>
              <a:cxnSpLocks noChangeShapeType="1"/>
            </p:cNvCxnSpPr>
            <p:nvPr/>
          </p:nvCxnSpPr>
          <p:spPr bwMode="gray">
            <a:xfrm>
              <a:off x="3083442" y="1081606"/>
              <a:ext cx="1172451" cy="0"/>
            </a:xfrm>
            <a:prstGeom prst="straightConnector1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/>
          </p:spPr>
        </p:cxnSp>
        <p:cxnSp>
          <p:nvCxnSpPr>
            <p:cNvPr id="165" name="AutoShape 249"/>
            <p:cNvCxnSpPr>
              <a:cxnSpLocks noChangeShapeType="1"/>
            </p:cNvCxnSpPr>
            <p:nvPr/>
          </p:nvCxnSpPr>
          <p:spPr bwMode="gray">
            <a:xfrm>
              <a:off x="2016117" y="1081606"/>
              <a:ext cx="917098" cy="0"/>
            </a:xfrm>
            <a:prstGeom prst="straightConnector1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/>
          </p:spPr>
        </p:cxnSp>
        <p:cxnSp>
          <p:nvCxnSpPr>
            <p:cNvPr id="169" name="AutoShape 249"/>
            <p:cNvCxnSpPr>
              <a:cxnSpLocks noChangeShapeType="1"/>
            </p:cNvCxnSpPr>
            <p:nvPr/>
          </p:nvCxnSpPr>
          <p:spPr bwMode="gray">
            <a:xfrm>
              <a:off x="4400881" y="1081606"/>
              <a:ext cx="1172451" cy="0"/>
            </a:xfrm>
            <a:prstGeom prst="straightConnector1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/>
          </p:spPr>
        </p:cxnSp>
        <p:cxnSp>
          <p:nvCxnSpPr>
            <p:cNvPr id="171" name="AutoShape 249"/>
            <p:cNvCxnSpPr>
              <a:cxnSpLocks noChangeShapeType="1"/>
            </p:cNvCxnSpPr>
            <p:nvPr/>
          </p:nvCxnSpPr>
          <p:spPr bwMode="gray">
            <a:xfrm>
              <a:off x="5712718" y="1081606"/>
              <a:ext cx="841002" cy="0"/>
            </a:xfrm>
            <a:prstGeom prst="straightConnector1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/>
          </p:spPr>
        </p:cxnSp>
        <p:cxnSp>
          <p:nvCxnSpPr>
            <p:cNvPr id="173" name="AutoShape 249"/>
            <p:cNvCxnSpPr>
              <a:cxnSpLocks noChangeShapeType="1"/>
            </p:cNvCxnSpPr>
            <p:nvPr/>
          </p:nvCxnSpPr>
          <p:spPr bwMode="gray">
            <a:xfrm>
              <a:off x="6772879" y="1081606"/>
              <a:ext cx="1005783" cy="0"/>
            </a:xfrm>
            <a:prstGeom prst="straightConnector1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/>
          </p:spPr>
        </p:cxnSp>
        <p:cxnSp>
          <p:nvCxnSpPr>
            <p:cNvPr id="199" name="AutoShape 249"/>
            <p:cNvCxnSpPr>
              <a:cxnSpLocks noChangeShapeType="1"/>
            </p:cNvCxnSpPr>
            <p:nvPr/>
          </p:nvCxnSpPr>
          <p:spPr bwMode="gray">
            <a:xfrm>
              <a:off x="7872230" y="1081606"/>
              <a:ext cx="741152" cy="0"/>
            </a:xfrm>
            <a:prstGeom prst="straightConnector1">
              <a:avLst/>
            </a:prstGeom>
            <a:grp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/>
          </p:spPr>
        </p:cxnSp>
        <p:sp>
          <p:nvSpPr>
            <p:cNvPr id="152" name="Rounded Rectangle 151"/>
            <p:cNvSpPr/>
            <p:nvPr/>
          </p:nvSpPr>
          <p:spPr>
            <a:xfrm>
              <a:off x="388886" y="1203597"/>
              <a:ext cx="8406468" cy="975665"/>
            </a:xfrm>
            <a:prstGeom prst="roundRect">
              <a:avLst/>
            </a:prstGeom>
            <a:grpFill/>
            <a:ln w="571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1729" tIns="15865" rIns="31729" bIns="15865" anchor="ctr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7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80930" name="TextBox 176"/>
            <p:cNvSpPr txBox="1">
              <a:spLocks/>
            </p:cNvSpPr>
            <p:nvPr/>
          </p:nvSpPr>
          <p:spPr bwMode="auto">
            <a:xfrm>
              <a:off x="541474" y="1228999"/>
              <a:ext cx="1582253" cy="8375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lvl="0" eaLnBrk="1" hangingPunct="1">
                <a:buClr>
                  <a:srgbClr val="002960"/>
                </a:buClr>
                <a:buSzPct val="100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Стратегия интернационализации высшего образования РК: </a:t>
              </a:r>
              <a:r>
                <a:rPr lang="ru-RU" sz="907" i="1" dirty="0">
                  <a:solidFill>
                    <a:srgbClr val="000000"/>
                  </a:solidFill>
                </a:rPr>
                <a:t>перечень приоритетных стран, проведение SWOT-анализа для выработки ключевых подходов стратегии</a:t>
              </a:r>
            </a:p>
          </p:txBody>
        </p:sp>
        <p:sp>
          <p:nvSpPr>
            <p:cNvPr id="189" name="Tracker circle"/>
            <p:cNvSpPr/>
            <p:nvPr/>
          </p:nvSpPr>
          <p:spPr>
            <a:xfrm>
              <a:off x="388559" y="1174743"/>
              <a:ext cx="114856" cy="12977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dirty="0">
                  <a:solidFill>
                    <a:srgbClr val="FFFFFF"/>
                  </a:solidFill>
                  <a:latin typeface="Segoe UI Light"/>
                  <a:ea typeface="ＭＳ Ｐゴシック"/>
                </a:rPr>
                <a:t>1</a:t>
              </a:r>
              <a:endParaRPr lang="en-US" sz="907" dirty="0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4" name="TextBox 200"/>
            <p:cNvSpPr txBox="1">
              <a:spLocks/>
            </p:cNvSpPr>
            <p:nvPr/>
          </p:nvSpPr>
          <p:spPr bwMode="auto">
            <a:xfrm>
              <a:off x="2249763" y="1237466"/>
              <a:ext cx="917098" cy="10469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ОН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201">
              <a:extLst>
                <a:ext uri="{FF2B5EF4-FFF2-40B4-BE49-F238E27FC236}">
                  <a16:creationId xmlns:a16="http://schemas.microsoft.com/office/drawing/2014/main" xmlns="" id="{A9BBC0A8-3E56-4510-8ADF-52E9D0F7F6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15989" y="1237466"/>
              <a:ext cx="1057230" cy="94223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АО «Центр Болонского процесса и академической мобильности», 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АО «Центр международных программ», высшие учебные заведени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76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10892" y="1237466"/>
              <a:ext cx="656381" cy="3140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До 20 октября 2019 г.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77" name="TextBox 204"/>
            <p:cNvSpPr txBox="1">
              <a:spLocks/>
            </p:cNvSpPr>
            <p:nvPr/>
          </p:nvSpPr>
          <p:spPr bwMode="auto">
            <a:xfrm>
              <a:off x="6820250" y="1237466"/>
              <a:ext cx="1003357" cy="10469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Стратеги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65" name="TextBox 200"/>
            <p:cNvSpPr txBox="1">
              <a:spLocks/>
            </p:cNvSpPr>
            <p:nvPr/>
          </p:nvSpPr>
          <p:spPr bwMode="auto">
            <a:xfrm>
              <a:off x="3144126" y="1237466"/>
              <a:ext cx="917098" cy="2093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Жакыпова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Ф.Н.</a:t>
              </a:r>
            </a:p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Бигари</a:t>
              </a:r>
              <a:r>
                <a:rPr lang="ru-RU" sz="907" dirty="0">
                  <a:solidFill>
                    <a:srgbClr val="000000"/>
                  </a:solidFill>
                </a:rPr>
                <a:t> Р.А.</a:t>
              </a:r>
            </a:p>
          </p:txBody>
        </p:sp>
        <p:sp>
          <p:nvSpPr>
            <p:cNvPr id="68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14615" y="1223140"/>
              <a:ext cx="656381" cy="2093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Не требуетс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1659938" y="2897734"/>
            <a:ext cx="8916886" cy="711495"/>
            <a:chOff x="388559" y="1174743"/>
            <a:chExt cx="8406795" cy="533621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50" name="Rounded Rectangle 151"/>
            <p:cNvSpPr/>
            <p:nvPr/>
          </p:nvSpPr>
          <p:spPr>
            <a:xfrm>
              <a:off x="388886" y="1203597"/>
              <a:ext cx="8406468" cy="504767"/>
            </a:xfrm>
            <a:prstGeom prst="roundRect">
              <a:avLst/>
            </a:prstGeom>
            <a:grpFill/>
            <a:ln w="571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1729" tIns="15865" rIns="31729" bIns="15865" anchor="ctr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7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51" name="TextBox 176"/>
            <p:cNvSpPr txBox="1">
              <a:spLocks/>
            </p:cNvSpPr>
            <p:nvPr/>
          </p:nvSpPr>
          <p:spPr bwMode="auto">
            <a:xfrm>
              <a:off x="541474" y="1228999"/>
              <a:ext cx="1582253" cy="2093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lvl="0" eaLnBrk="1" hangingPunct="1">
                <a:buClr>
                  <a:srgbClr val="002960"/>
                </a:buClr>
                <a:buSzPct val="100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План проведения «Дней образования РК» за рубежом</a:t>
              </a:r>
            </a:p>
          </p:txBody>
        </p:sp>
        <p:sp>
          <p:nvSpPr>
            <p:cNvPr id="52" name="Tracker circle"/>
            <p:cNvSpPr/>
            <p:nvPr/>
          </p:nvSpPr>
          <p:spPr>
            <a:xfrm>
              <a:off x="388559" y="1174743"/>
              <a:ext cx="114856" cy="12977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dirty="0">
                  <a:solidFill>
                    <a:srgbClr val="FFFFFF"/>
                  </a:solidFill>
                  <a:latin typeface="Segoe UI Light"/>
                  <a:ea typeface="ＭＳ Ｐゴシック"/>
                </a:rPr>
                <a:t>2</a:t>
              </a:r>
              <a:endParaRPr lang="en-US" sz="907" dirty="0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53" name="TextBox 200"/>
            <p:cNvSpPr txBox="1">
              <a:spLocks/>
            </p:cNvSpPr>
            <p:nvPr/>
          </p:nvSpPr>
          <p:spPr bwMode="auto">
            <a:xfrm>
              <a:off x="2249763" y="1237466"/>
              <a:ext cx="917098" cy="10469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ОН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54" name="TextBox 201">
              <a:extLst>
                <a:ext uri="{FF2B5EF4-FFF2-40B4-BE49-F238E27FC236}">
                  <a16:creationId xmlns:a16="http://schemas.microsoft.com/office/drawing/2014/main" xmlns="" id="{A9BBC0A8-3E56-4510-8ADF-52E9D0F7F6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15989" y="1237466"/>
              <a:ext cx="1057230" cy="41876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ИД, АО «Центр международных программ», в</a:t>
              </a: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ысшие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учебные заведени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55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10892" y="1237466"/>
              <a:ext cx="656381" cy="3140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До 20 октября 2019 г.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56" name="TextBox 204"/>
            <p:cNvSpPr txBox="1">
              <a:spLocks/>
            </p:cNvSpPr>
            <p:nvPr/>
          </p:nvSpPr>
          <p:spPr bwMode="auto">
            <a:xfrm>
              <a:off x="6820250" y="1237466"/>
              <a:ext cx="1003357" cy="10469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План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58" name="TextBox 200"/>
            <p:cNvSpPr txBox="1">
              <a:spLocks/>
            </p:cNvSpPr>
            <p:nvPr/>
          </p:nvSpPr>
          <p:spPr bwMode="auto">
            <a:xfrm>
              <a:off x="3144126" y="1237466"/>
              <a:ext cx="917098" cy="2093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Жакыпова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Ф.Н.</a:t>
              </a:r>
            </a:p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Бигари</a:t>
              </a:r>
              <a:r>
                <a:rPr lang="ru-RU" sz="907" dirty="0">
                  <a:solidFill>
                    <a:srgbClr val="000000"/>
                  </a:solidFill>
                </a:rPr>
                <a:t> Р.А.</a:t>
              </a:r>
            </a:p>
          </p:txBody>
        </p:sp>
        <p:sp>
          <p:nvSpPr>
            <p:cNvPr id="59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14615" y="1223140"/>
              <a:ext cx="656381" cy="2093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Не требуетс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grpSp>
        <p:nvGrpSpPr>
          <p:cNvPr id="131" name="Группа 130"/>
          <p:cNvGrpSpPr/>
          <p:nvPr/>
        </p:nvGrpSpPr>
        <p:grpSpPr>
          <a:xfrm>
            <a:off x="1660285" y="3632139"/>
            <a:ext cx="8916886" cy="1364543"/>
            <a:chOff x="388559" y="1174743"/>
            <a:chExt cx="8406795" cy="790753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32" name="Rounded Rectangle 151"/>
            <p:cNvSpPr/>
            <p:nvPr/>
          </p:nvSpPr>
          <p:spPr>
            <a:xfrm>
              <a:off x="388886" y="1203598"/>
              <a:ext cx="8406468" cy="659338"/>
            </a:xfrm>
            <a:prstGeom prst="roundRect">
              <a:avLst/>
            </a:prstGeom>
            <a:grpFill/>
            <a:ln w="571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1729" tIns="15865" rIns="31729" bIns="15865" anchor="ctr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7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33" name="TextBox 176"/>
            <p:cNvSpPr txBox="1">
              <a:spLocks/>
            </p:cNvSpPr>
            <p:nvPr/>
          </p:nvSpPr>
          <p:spPr bwMode="auto">
            <a:xfrm>
              <a:off x="541474" y="1228998"/>
              <a:ext cx="1582253" cy="48535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1059633" eaLnBrk="1" hangingPunct="1">
                <a:buClr>
                  <a:srgbClr val="000000"/>
                </a:buClr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Разработка </a:t>
              </a:r>
              <a:r>
                <a:rPr lang="ru-RU" sz="907" dirty="0" err="1">
                  <a:solidFill>
                    <a:srgbClr val="000000"/>
                  </a:solidFill>
                </a:rPr>
                <a:t>Brand</a:t>
              </a:r>
              <a:r>
                <a:rPr lang="ru-RU" sz="907" dirty="0">
                  <a:solidFill>
                    <a:srgbClr val="000000"/>
                  </a:solidFill>
                </a:rPr>
                <a:t> </a:t>
              </a:r>
              <a:r>
                <a:rPr lang="ru-RU" sz="907" dirty="0" err="1">
                  <a:solidFill>
                    <a:srgbClr val="000000"/>
                  </a:solidFill>
                </a:rPr>
                <a:t>book</a:t>
              </a:r>
              <a:r>
                <a:rPr lang="ru-RU" sz="907" dirty="0">
                  <a:solidFill>
                    <a:srgbClr val="000000"/>
                  </a:solidFill>
                </a:rPr>
                <a:t> (бренд бука) о системе образования РК: </a:t>
              </a:r>
              <a:r>
                <a:rPr lang="ru-RU" sz="907" i="1" dirty="0">
                  <a:solidFill>
                    <a:srgbClr val="000000"/>
                  </a:solidFill>
                </a:rPr>
                <a:t>информация о РК, вузах, образовательных программах и условиях обучения и проживания</a:t>
              </a:r>
            </a:p>
          </p:txBody>
        </p:sp>
        <p:sp>
          <p:nvSpPr>
            <p:cNvPr id="134" name="Tracker circle"/>
            <p:cNvSpPr/>
            <p:nvPr/>
          </p:nvSpPr>
          <p:spPr>
            <a:xfrm>
              <a:off x="388559" y="1174743"/>
              <a:ext cx="114856" cy="12977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dirty="0">
                  <a:solidFill>
                    <a:srgbClr val="FFFFFF"/>
                  </a:solidFill>
                  <a:latin typeface="Segoe UI Light"/>
                  <a:ea typeface="ＭＳ Ｐゴシック"/>
                </a:rPr>
                <a:t>3</a:t>
              </a:r>
              <a:endParaRPr lang="en-US" sz="907" dirty="0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35" name="TextBox 200"/>
            <p:cNvSpPr txBox="1">
              <a:spLocks/>
            </p:cNvSpPr>
            <p:nvPr/>
          </p:nvSpPr>
          <p:spPr bwMode="auto">
            <a:xfrm>
              <a:off x="2249763" y="1237466"/>
              <a:ext cx="917098" cy="8089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ОН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136" name="TextBox 201">
              <a:extLst>
                <a:ext uri="{FF2B5EF4-FFF2-40B4-BE49-F238E27FC236}">
                  <a16:creationId xmlns:a16="http://schemas.microsoft.com/office/drawing/2014/main" xmlns="" id="{A9BBC0A8-3E56-4510-8ADF-52E9D0F7F6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15988" y="1237466"/>
              <a:ext cx="1121905" cy="72803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АО «Центр международных программ», </a:t>
              </a:r>
              <a:r>
                <a:rPr lang="ru-RU" sz="907" dirty="0">
                  <a:solidFill>
                    <a:srgbClr val="000000"/>
                  </a:solidFill>
                </a:rPr>
                <a:t>АО «Центр Болонского процесса и академической мобильности», высшие учебные заведени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7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10892" y="1237466"/>
              <a:ext cx="656381" cy="2426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До 20 ноября 2019 г.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8" name="TextBox 204"/>
            <p:cNvSpPr txBox="1">
              <a:spLocks/>
            </p:cNvSpPr>
            <p:nvPr/>
          </p:nvSpPr>
          <p:spPr bwMode="auto">
            <a:xfrm>
              <a:off x="6761199" y="1245658"/>
              <a:ext cx="1003357" cy="8089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Brand</a:t>
              </a:r>
              <a:r>
                <a:rPr lang="ru-RU" sz="907" dirty="0">
                  <a:solidFill>
                    <a:srgbClr val="000000"/>
                  </a:solidFill>
                </a:rPr>
                <a:t> </a:t>
              </a:r>
              <a:r>
                <a:rPr lang="ru-RU" sz="907" dirty="0" err="1">
                  <a:solidFill>
                    <a:srgbClr val="000000"/>
                  </a:solidFill>
                </a:rPr>
                <a:t>book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9" name="TextBox 200"/>
            <p:cNvSpPr txBox="1">
              <a:spLocks/>
            </p:cNvSpPr>
            <p:nvPr/>
          </p:nvSpPr>
          <p:spPr bwMode="auto">
            <a:xfrm>
              <a:off x="3144126" y="1237466"/>
              <a:ext cx="917098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Жакыпова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Ф.Н.</a:t>
              </a:r>
            </a:p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Бигари</a:t>
              </a:r>
              <a:r>
                <a:rPr lang="ru-RU" sz="907" dirty="0">
                  <a:solidFill>
                    <a:srgbClr val="000000"/>
                  </a:solidFill>
                </a:rPr>
                <a:t> Р.А.</a:t>
              </a:r>
            </a:p>
          </p:txBody>
        </p:sp>
        <p:sp>
          <p:nvSpPr>
            <p:cNvPr id="140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14615" y="1223140"/>
              <a:ext cx="656381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Не требуетс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grpSp>
        <p:nvGrpSpPr>
          <p:cNvPr id="87" name="Группа 86"/>
          <p:cNvGrpSpPr/>
          <p:nvPr/>
        </p:nvGrpSpPr>
        <p:grpSpPr>
          <a:xfrm>
            <a:off x="1658725" y="4839137"/>
            <a:ext cx="8916886" cy="878453"/>
            <a:chOff x="388559" y="1174743"/>
            <a:chExt cx="8406795" cy="50906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90" name="Rounded Rectangle 151"/>
            <p:cNvSpPr/>
            <p:nvPr/>
          </p:nvSpPr>
          <p:spPr>
            <a:xfrm>
              <a:off x="388886" y="1203598"/>
              <a:ext cx="8406468" cy="480209"/>
            </a:xfrm>
            <a:prstGeom prst="roundRect">
              <a:avLst/>
            </a:prstGeom>
            <a:grpFill/>
            <a:ln w="571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1729" tIns="15865" rIns="31729" bIns="15865" anchor="ctr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7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91" name="TextBox 176"/>
            <p:cNvSpPr txBox="1">
              <a:spLocks/>
            </p:cNvSpPr>
            <p:nvPr/>
          </p:nvSpPr>
          <p:spPr bwMode="auto">
            <a:xfrm>
              <a:off x="541474" y="1228998"/>
              <a:ext cx="1582253" cy="2426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1059633" eaLnBrk="1" hangingPunct="1">
                <a:buClr>
                  <a:srgbClr val="000000"/>
                </a:buClr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Разработка проекта онлайн-портала «</a:t>
              </a:r>
              <a:r>
                <a:rPr lang="ru-RU" sz="907" dirty="0" err="1">
                  <a:solidFill>
                    <a:srgbClr val="000000"/>
                  </a:solidFill>
                </a:rPr>
                <a:t>Study</a:t>
              </a:r>
              <a:r>
                <a:rPr lang="ru-RU" sz="907" dirty="0">
                  <a:solidFill>
                    <a:srgbClr val="000000"/>
                  </a:solidFill>
                </a:rPr>
                <a:t> </a:t>
              </a:r>
              <a:r>
                <a:rPr lang="ru-RU" sz="907" dirty="0" err="1">
                  <a:solidFill>
                    <a:srgbClr val="000000"/>
                  </a:solidFill>
                </a:rPr>
                <a:t>in</a:t>
              </a:r>
              <a:r>
                <a:rPr lang="ru-RU" sz="907" dirty="0">
                  <a:solidFill>
                    <a:srgbClr val="000000"/>
                  </a:solidFill>
                </a:rPr>
                <a:t> </a:t>
              </a:r>
              <a:r>
                <a:rPr lang="ru-RU" sz="907" dirty="0" err="1">
                  <a:solidFill>
                    <a:srgbClr val="000000"/>
                  </a:solidFill>
                </a:rPr>
                <a:t>Kazakhstan</a:t>
              </a:r>
              <a:r>
                <a:rPr lang="ru-RU" sz="907" dirty="0">
                  <a:solidFill>
                    <a:srgbClr val="000000"/>
                  </a:solidFill>
                </a:rPr>
                <a:t>» для иностранных студентов</a:t>
              </a:r>
            </a:p>
          </p:txBody>
        </p:sp>
        <p:sp>
          <p:nvSpPr>
            <p:cNvPr id="92" name="Tracker circle"/>
            <p:cNvSpPr/>
            <p:nvPr/>
          </p:nvSpPr>
          <p:spPr>
            <a:xfrm>
              <a:off x="388559" y="1174743"/>
              <a:ext cx="114856" cy="12977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dirty="0">
                  <a:solidFill>
                    <a:srgbClr val="FFFFFF"/>
                  </a:solidFill>
                  <a:latin typeface="Segoe UI Light"/>
                  <a:ea typeface="ＭＳ Ｐゴシック"/>
                </a:rPr>
                <a:t>4</a:t>
              </a:r>
              <a:endParaRPr lang="en-US" sz="907" dirty="0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93" name="TextBox 200"/>
            <p:cNvSpPr txBox="1">
              <a:spLocks/>
            </p:cNvSpPr>
            <p:nvPr/>
          </p:nvSpPr>
          <p:spPr bwMode="auto">
            <a:xfrm>
              <a:off x="2249763" y="1237466"/>
              <a:ext cx="917098" cy="8089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ОН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94" name="TextBox 201">
              <a:extLst>
                <a:ext uri="{FF2B5EF4-FFF2-40B4-BE49-F238E27FC236}">
                  <a16:creationId xmlns:a16="http://schemas.microsoft.com/office/drawing/2014/main" xmlns="" id="{A9BBC0A8-3E56-4510-8ADF-52E9D0F7F6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15989" y="1237466"/>
              <a:ext cx="1057230" cy="3235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АО «Центр международных программ», </a:t>
              </a:r>
              <a:r>
                <a:rPr lang="ru-RU" sz="907" dirty="0">
                  <a:solidFill>
                    <a:srgbClr val="000000"/>
                  </a:solidFill>
                </a:rPr>
                <a:t>высшие учебные заведени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95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10892" y="1237466"/>
              <a:ext cx="656381" cy="2426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До 20 ноября 2019 г.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96" name="TextBox 204"/>
            <p:cNvSpPr txBox="1">
              <a:spLocks/>
            </p:cNvSpPr>
            <p:nvPr/>
          </p:nvSpPr>
          <p:spPr bwMode="auto">
            <a:xfrm>
              <a:off x="6761199" y="1245658"/>
              <a:ext cx="1003357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Проект онлайн-портала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200"/>
            <p:cNvSpPr txBox="1">
              <a:spLocks/>
            </p:cNvSpPr>
            <p:nvPr/>
          </p:nvSpPr>
          <p:spPr bwMode="auto">
            <a:xfrm>
              <a:off x="3144126" y="1237466"/>
              <a:ext cx="917098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Жакыпова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Ф.Н.</a:t>
              </a:r>
            </a:p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Бигари</a:t>
              </a:r>
              <a:r>
                <a:rPr lang="ru-RU" sz="907" dirty="0">
                  <a:solidFill>
                    <a:srgbClr val="000000"/>
                  </a:solidFill>
                </a:rPr>
                <a:t> Р.А.</a:t>
              </a:r>
            </a:p>
          </p:txBody>
        </p:sp>
        <p:sp>
          <p:nvSpPr>
            <p:cNvPr id="98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14615" y="1223140"/>
              <a:ext cx="656381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en-US" sz="907" dirty="0">
                  <a:solidFill>
                    <a:srgbClr val="000000"/>
                  </a:solidFill>
                  <a:ea typeface="ＭＳ Ｐゴシック"/>
                </a:rPr>
                <a:t>10 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млн. тенге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grpSp>
        <p:nvGrpSpPr>
          <p:cNvPr id="89" name="Группа 88"/>
          <p:cNvGrpSpPr/>
          <p:nvPr/>
        </p:nvGrpSpPr>
        <p:grpSpPr>
          <a:xfrm>
            <a:off x="1658725" y="5717590"/>
            <a:ext cx="8916886" cy="858628"/>
            <a:chOff x="388559" y="1174743"/>
            <a:chExt cx="8406795" cy="631259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99" name="Rounded Rectangle 151"/>
            <p:cNvSpPr/>
            <p:nvPr/>
          </p:nvSpPr>
          <p:spPr>
            <a:xfrm>
              <a:off x="388886" y="1203597"/>
              <a:ext cx="8406468" cy="602405"/>
            </a:xfrm>
            <a:prstGeom prst="roundRect">
              <a:avLst/>
            </a:prstGeom>
            <a:grpFill/>
            <a:ln w="571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1729" tIns="15865" rIns="31729" bIns="15865" anchor="ctr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7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00" name="TextBox 176"/>
            <p:cNvSpPr txBox="1">
              <a:spLocks/>
            </p:cNvSpPr>
            <p:nvPr/>
          </p:nvSpPr>
          <p:spPr bwMode="auto">
            <a:xfrm>
              <a:off x="541474" y="1228998"/>
              <a:ext cx="1582253" cy="5131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1059633" eaLnBrk="1" hangingPunct="1">
                <a:buClr>
                  <a:srgbClr val="000000"/>
                </a:buClr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Форум с главами дипломатических представительств и международных организаций, аккредитованных в РК</a:t>
              </a:r>
            </a:p>
          </p:txBody>
        </p:sp>
        <p:sp>
          <p:nvSpPr>
            <p:cNvPr id="101" name="Tracker circle"/>
            <p:cNvSpPr/>
            <p:nvPr/>
          </p:nvSpPr>
          <p:spPr>
            <a:xfrm>
              <a:off x="388559" y="1174743"/>
              <a:ext cx="114856" cy="12977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dirty="0">
                  <a:solidFill>
                    <a:srgbClr val="FFFFFF"/>
                  </a:solidFill>
                  <a:latin typeface="Segoe UI Light"/>
                  <a:ea typeface="ＭＳ Ｐゴシック"/>
                </a:rPr>
                <a:t>5</a:t>
              </a:r>
              <a:endParaRPr lang="en-US" sz="907" dirty="0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02" name="TextBox 200"/>
            <p:cNvSpPr txBox="1">
              <a:spLocks/>
            </p:cNvSpPr>
            <p:nvPr/>
          </p:nvSpPr>
          <p:spPr bwMode="auto">
            <a:xfrm>
              <a:off x="2249763" y="1237466"/>
              <a:ext cx="917098" cy="1026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ОН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103" name="TextBox 201">
              <a:extLst>
                <a:ext uri="{FF2B5EF4-FFF2-40B4-BE49-F238E27FC236}">
                  <a16:creationId xmlns:a16="http://schemas.microsoft.com/office/drawing/2014/main" xmlns="" id="{A9BBC0A8-3E56-4510-8ADF-52E9D0F7F6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15989" y="1237466"/>
              <a:ext cx="1057230" cy="4105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ИД, АО «Центр международных программ», высшие учебные заведения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104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61504" y="1241627"/>
              <a:ext cx="656381" cy="3078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До 20 декабря 2019 г.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05" name="TextBox 204"/>
            <p:cNvSpPr txBox="1">
              <a:spLocks/>
            </p:cNvSpPr>
            <p:nvPr/>
          </p:nvSpPr>
          <p:spPr bwMode="auto">
            <a:xfrm>
              <a:off x="6820250" y="1237466"/>
              <a:ext cx="1003357" cy="1026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Форум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06" name="TextBox 200"/>
            <p:cNvSpPr txBox="1">
              <a:spLocks/>
            </p:cNvSpPr>
            <p:nvPr/>
          </p:nvSpPr>
          <p:spPr bwMode="auto">
            <a:xfrm>
              <a:off x="3144126" y="1237466"/>
              <a:ext cx="917098" cy="2052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Жакыпова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Ф.Н.</a:t>
              </a:r>
            </a:p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Бигари</a:t>
              </a:r>
              <a:r>
                <a:rPr lang="ru-RU" sz="907" dirty="0">
                  <a:solidFill>
                    <a:srgbClr val="000000"/>
                  </a:solidFill>
                </a:rPr>
                <a:t> Р.А.</a:t>
              </a:r>
            </a:p>
          </p:txBody>
        </p:sp>
        <p:sp>
          <p:nvSpPr>
            <p:cNvPr id="107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62592" y="1235948"/>
              <a:ext cx="656381" cy="2052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30 млн. тенге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sp>
        <p:nvSpPr>
          <p:cNvPr id="71" name="Прямоугольный треугольник 70"/>
          <p:cNvSpPr/>
          <p:nvPr/>
        </p:nvSpPr>
        <p:spPr>
          <a:xfrm flipV="1">
            <a:off x="1" y="-4"/>
            <a:ext cx="2137471" cy="983423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371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18522" y="937005"/>
            <a:ext cx="9147752" cy="557884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64861" tIns="64861" rIns="64861" bIns="64861"/>
          <a:lstStyle>
            <a:lvl1pPr marL="342900" indent="-3429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24436" lvl="1" indent="-222597"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itchFamily="34" charset="0"/>
              <a:buChar char="▪"/>
              <a:defRPr/>
            </a:pPr>
            <a:endParaRPr lang="ru-RU" sz="907" dirty="0">
              <a:solidFill>
                <a:srgbClr val="000000"/>
              </a:solidFill>
              <a:ea typeface="ＭＳ Ｐゴシック"/>
            </a:endParaRPr>
          </a:p>
        </p:txBody>
      </p:sp>
      <p:graphicFrame>
        <p:nvGraphicFramePr>
          <p:cNvPr id="80898" name="Object 11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460421" y="1590"/>
          <a:ext cx="1262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0898" name="Object 1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60421" y="1590"/>
                        <a:ext cx="1262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F67C800-F02E-4CEB-9ED6-87CBF06325D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246590" y="0"/>
            <a:ext cx="168382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816" dirty="0" err="1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0900" name="TextBox 150"/>
          <p:cNvSpPr txBox="1">
            <a:spLocks noChangeArrowheads="1"/>
          </p:cNvSpPr>
          <p:nvPr/>
        </p:nvSpPr>
        <p:spPr bwMode="auto">
          <a:xfrm>
            <a:off x="1522124" y="333004"/>
            <a:ext cx="9147752" cy="558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Г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а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в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н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ы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й 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с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п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о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н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т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е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ь</a:t>
            </a:r>
          </a:p>
          <a:p>
            <a:pPr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907" i="1" dirty="0">
                <a:solidFill>
                  <a:srgbClr val="000000"/>
                </a:solidFill>
                <a:ea typeface="ＭＳ Ｐゴシック"/>
              </a:rPr>
              <a:t>ФИО</a:t>
            </a:r>
            <a:endParaRPr lang="ru-RU" sz="907" dirty="0">
              <a:solidFill>
                <a:srgbClr val="D9D9D9"/>
              </a:solidFill>
              <a:ea typeface="ＭＳ Ｐゴシック"/>
            </a:endParaRPr>
          </a:p>
          <a:p>
            <a:pPr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Со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-</a:t>
            </a:r>
            <a:r>
              <a:rPr lang="ru-RU" sz="907" dirty="0">
                <a:solidFill>
                  <a:srgbClr val="0065BD"/>
                </a:solidFill>
                <a:ea typeface="ＭＳ Ｐゴシック"/>
              </a:rPr>
              <a:t>исполнители</a:t>
            </a:r>
          </a:p>
          <a:p>
            <a:pPr defTabSz="1037557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907" i="1" dirty="0">
                <a:solidFill>
                  <a:srgbClr val="000000"/>
                </a:solidFill>
                <a:ea typeface="ＭＳ Ｐゴシック"/>
              </a:rPr>
              <a:t>ФИО</a:t>
            </a:r>
            <a:endParaRPr lang="ru-RU" sz="907" i="1" dirty="0">
              <a:solidFill>
                <a:srgbClr val="D9D9D9"/>
              </a:solidFill>
              <a:ea typeface="ＭＳ Ｐゴシック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7228129" y="434514"/>
          <a:ext cx="3347482" cy="6872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74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373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u="none" strike="noStrike" dirty="0">
                          <a:effectLst/>
                        </a:rPr>
                        <a:t>НАПРАВЛЕНИЕ: </a:t>
                      </a:r>
                      <a:r>
                        <a:rPr lang="ru-RU" sz="1100" b="0" u="none" strike="noStrike" dirty="0">
                          <a:effectLst/>
                        </a:rPr>
                        <a:t>Образование</a:t>
                      </a:r>
                      <a:r>
                        <a:rPr lang="ru-RU" sz="1100" b="0" u="none" strike="noStrike" baseline="0" dirty="0">
                          <a:effectLst/>
                        </a:rPr>
                        <a:t> – основа личного благополуч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18" marR="4418" marT="556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143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u="none" strike="noStrike" dirty="0">
                          <a:effectLst/>
                        </a:rPr>
                        <a:t>МЕРА: </a:t>
                      </a:r>
                      <a:r>
                        <a:rPr lang="ru-RU" sz="1100" b="0" u="none" strike="noStrike" dirty="0">
                          <a:effectLst/>
                        </a:rPr>
                        <a:t>Привлечение иностранных студенто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18" marR="4418" marT="556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1436">
                <a:tc>
                  <a:txBody>
                    <a:bodyPr/>
                    <a:lstStyle/>
                    <a:p>
                      <a:pPr algn="l" fontAlgn="b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18" marR="4418" marT="556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163" name="AutoShape 249"/>
          <p:cNvCxnSpPr>
            <a:cxnSpLocks noChangeShapeType="1"/>
          </p:cNvCxnSpPr>
          <p:nvPr/>
        </p:nvCxnSpPr>
        <p:spPr bwMode="gray">
          <a:xfrm>
            <a:off x="1842520" y="1442141"/>
            <a:ext cx="1451683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80917" name="AutoShape 250"/>
          <p:cNvSpPr>
            <a:spLocks noChangeArrowheads="1"/>
          </p:cNvSpPr>
          <p:nvPr/>
        </p:nvSpPr>
        <p:spPr bwMode="gray">
          <a:xfrm>
            <a:off x="1842520" y="1286179"/>
            <a:ext cx="1451683" cy="15596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Мероприятие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cxnSp>
        <p:nvCxnSpPr>
          <p:cNvPr id="167" name="AutoShape 249"/>
          <p:cNvCxnSpPr>
            <a:cxnSpLocks noChangeShapeType="1"/>
          </p:cNvCxnSpPr>
          <p:nvPr/>
        </p:nvCxnSpPr>
        <p:spPr bwMode="gray">
          <a:xfrm>
            <a:off x="4517123" y="1442141"/>
            <a:ext cx="1243591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80921" name="AutoShape 250"/>
          <p:cNvSpPr>
            <a:spLocks noChangeArrowheads="1"/>
          </p:cNvSpPr>
          <p:nvPr/>
        </p:nvSpPr>
        <p:spPr bwMode="gray">
          <a:xfrm>
            <a:off x="4517123" y="1146591"/>
            <a:ext cx="1243591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Персональный ответственный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cxnSp>
        <p:nvCxnSpPr>
          <p:cNvPr id="165" name="AutoShape 249"/>
          <p:cNvCxnSpPr>
            <a:cxnSpLocks noChangeShapeType="1"/>
          </p:cNvCxnSpPr>
          <p:nvPr/>
        </p:nvCxnSpPr>
        <p:spPr bwMode="gray">
          <a:xfrm>
            <a:off x="3385036" y="1442141"/>
            <a:ext cx="972744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80919" name="AutoShape 250"/>
          <p:cNvSpPr>
            <a:spLocks noChangeArrowheads="1"/>
          </p:cNvSpPr>
          <p:nvPr/>
        </p:nvSpPr>
        <p:spPr bwMode="gray">
          <a:xfrm>
            <a:off x="3385036" y="1146591"/>
            <a:ext cx="972744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Ответственная организация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cxnSp>
        <p:nvCxnSpPr>
          <p:cNvPr id="169" name="AutoShape 249"/>
          <p:cNvCxnSpPr>
            <a:cxnSpLocks noChangeShapeType="1"/>
          </p:cNvCxnSpPr>
          <p:nvPr/>
        </p:nvCxnSpPr>
        <p:spPr bwMode="gray">
          <a:xfrm>
            <a:off x="5914499" y="1442141"/>
            <a:ext cx="1243591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80923" name="AutoShape 250"/>
          <p:cNvSpPr>
            <a:spLocks noChangeArrowheads="1"/>
          </p:cNvSpPr>
          <p:nvPr/>
        </p:nvSpPr>
        <p:spPr bwMode="gray">
          <a:xfrm>
            <a:off x="5914499" y="1146590"/>
            <a:ext cx="1243591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Организации </a:t>
            </a:r>
            <a:b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</a:b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со</a:t>
            </a:r>
            <a:r>
              <a:rPr lang="x-none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-</a:t>
            </a:r>
            <a:r>
              <a:rPr lang="x-none" sz="907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ru-RU" sz="907" dirty="0" err="1">
                <a:solidFill>
                  <a:srgbClr val="0065BD"/>
                </a:solidFill>
                <a:latin typeface="Arial" charset="0"/>
                <a:ea typeface="ＭＳ Ｐゴシック"/>
              </a:rPr>
              <a:t>сполнители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cxnSp>
        <p:nvCxnSpPr>
          <p:cNvPr id="171" name="AutoShape 249"/>
          <p:cNvCxnSpPr>
            <a:cxnSpLocks noChangeShapeType="1"/>
          </p:cNvCxnSpPr>
          <p:nvPr/>
        </p:nvCxnSpPr>
        <p:spPr bwMode="gray">
          <a:xfrm>
            <a:off x="7305932" y="1442141"/>
            <a:ext cx="892031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80925" name="AutoShape 250"/>
          <p:cNvSpPr>
            <a:spLocks noChangeArrowheads="1"/>
          </p:cNvSpPr>
          <p:nvPr/>
        </p:nvSpPr>
        <p:spPr bwMode="gray">
          <a:xfrm>
            <a:off x="7305933" y="1146590"/>
            <a:ext cx="921546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Срок исполнения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cxnSp>
        <p:nvCxnSpPr>
          <p:cNvPr id="173" name="AutoShape 249"/>
          <p:cNvCxnSpPr>
            <a:cxnSpLocks noChangeShapeType="1"/>
          </p:cNvCxnSpPr>
          <p:nvPr/>
        </p:nvCxnSpPr>
        <p:spPr bwMode="gray">
          <a:xfrm>
            <a:off x="8430420" y="1442141"/>
            <a:ext cx="1066810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80927" name="AutoShape 250"/>
          <p:cNvSpPr>
            <a:spLocks noChangeArrowheads="1"/>
          </p:cNvSpPr>
          <p:nvPr/>
        </p:nvSpPr>
        <p:spPr bwMode="gray">
          <a:xfrm>
            <a:off x="8430420" y="1146591"/>
            <a:ext cx="1066810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Конкретный результат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cxnSp>
        <p:nvCxnSpPr>
          <p:cNvPr id="199" name="AutoShape 249"/>
          <p:cNvCxnSpPr>
            <a:cxnSpLocks noChangeShapeType="1"/>
          </p:cNvCxnSpPr>
          <p:nvPr/>
        </p:nvCxnSpPr>
        <p:spPr bwMode="gray">
          <a:xfrm>
            <a:off x="9596475" y="1442141"/>
            <a:ext cx="786122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80935" name="AutoShape 250"/>
          <p:cNvSpPr>
            <a:spLocks noChangeArrowheads="1"/>
          </p:cNvSpPr>
          <p:nvPr/>
        </p:nvSpPr>
        <p:spPr bwMode="gray">
          <a:xfrm>
            <a:off x="9596475" y="1146591"/>
            <a:ext cx="786122" cy="2955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6215" anchor="b">
            <a:spAutoFit/>
          </a:bodyPr>
          <a:lstStyle/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7" dirty="0">
                <a:solidFill>
                  <a:srgbClr val="0065BD"/>
                </a:solidFill>
                <a:latin typeface="Arial" charset="0"/>
                <a:ea typeface="ＭＳ Ｐゴシック"/>
              </a:rPr>
              <a:t>Бюджет (потребность)</a:t>
            </a:r>
            <a:endParaRPr lang="en-US" sz="907" dirty="0">
              <a:solidFill>
                <a:srgbClr val="0065BD"/>
              </a:solidFill>
              <a:latin typeface="Arial" charset="0"/>
              <a:ea typeface="ＭＳ Ｐゴシック"/>
            </a:endParaRPr>
          </a:p>
        </p:txBody>
      </p:sp>
      <p:grpSp>
        <p:nvGrpSpPr>
          <p:cNvPr id="80" name="Группа 79"/>
          <p:cNvGrpSpPr/>
          <p:nvPr/>
        </p:nvGrpSpPr>
        <p:grpSpPr>
          <a:xfrm>
            <a:off x="1610940" y="1508787"/>
            <a:ext cx="8916886" cy="512304"/>
            <a:chOff x="388559" y="1174743"/>
            <a:chExt cx="8406795" cy="38422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82" name="Rounded Rectangle 151"/>
            <p:cNvSpPr/>
            <p:nvPr/>
          </p:nvSpPr>
          <p:spPr>
            <a:xfrm>
              <a:off x="388886" y="1174744"/>
              <a:ext cx="8406468" cy="384227"/>
            </a:xfrm>
            <a:prstGeom prst="roundRect">
              <a:avLst/>
            </a:prstGeom>
            <a:grpFill/>
            <a:ln w="571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1729" tIns="15865" rIns="31729" bIns="15865" anchor="ctr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7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83" name="TextBox 176"/>
            <p:cNvSpPr txBox="1">
              <a:spLocks/>
            </p:cNvSpPr>
            <p:nvPr/>
          </p:nvSpPr>
          <p:spPr bwMode="auto">
            <a:xfrm>
              <a:off x="541474" y="1205797"/>
              <a:ext cx="1582253" cy="3140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1059633" eaLnBrk="1" hangingPunct="1">
                <a:buClr>
                  <a:srgbClr val="000000"/>
                </a:buClr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Подготовка бюджетной заявки для выделения средств на разработку онлайн-портала</a:t>
              </a:r>
              <a:endParaRPr lang="ru-RU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84" name="Tracker circle"/>
            <p:cNvSpPr/>
            <p:nvPr/>
          </p:nvSpPr>
          <p:spPr>
            <a:xfrm>
              <a:off x="388559" y="1174743"/>
              <a:ext cx="114856" cy="12977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dirty="0">
                  <a:solidFill>
                    <a:srgbClr val="FFFFFF"/>
                  </a:solidFill>
                  <a:latin typeface="Segoe UI Light"/>
                  <a:ea typeface="ＭＳ Ｐゴシック"/>
                </a:rPr>
                <a:t>6</a:t>
              </a:r>
              <a:endParaRPr lang="en-US" sz="907" dirty="0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85" name="TextBox 200"/>
            <p:cNvSpPr txBox="1">
              <a:spLocks/>
            </p:cNvSpPr>
            <p:nvPr/>
          </p:nvSpPr>
          <p:spPr bwMode="auto">
            <a:xfrm>
              <a:off x="2249763" y="1237466"/>
              <a:ext cx="917098" cy="10469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ОН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201">
              <a:extLst>
                <a:ext uri="{FF2B5EF4-FFF2-40B4-BE49-F238E27FC236}">
                  <a16:creationId xmlns:a16="http://schemas.microsoft.com/office/drawing/2014/main" xmlns="" id="{A9BBC0A8-3E56-4510-8ADF-52E9D0F7F6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09656" y="1203597"/>
              <a:ext cx="1057230" cy="3140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АО «Центр международных программ»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92" name="TextBox 204"/>
            <p:cNvSpPr txBox="1">
              <a:spLocks/>
            </p:cNvSpPr>
            <p:nvPr/>
          </p:nvSpPr>
          <p:spPr bwMode="auto">
            <a:xfrm>
              <a:off x="6820250" y="1237466"/>
              <a:ext cx="1003357" cy="10469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Бюджетная заявка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94" name="TextBox 200"/>
            <p:cNvSpPr txBox="1">
              <a:spLocks/>
            </p:cNvSpPr>
            <p:nvPr/>
          </p:nvSpPr>
          <p:spPr bwMode="auto">
            <a:xfrm>
              <a:off x="3144126" y="1237466"/>
              <a:ext cx="917098" cy="2093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Жакыпова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Ф.Н.</a:t>
              </a:r>
            </a:p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Бигари</a:t>
              </a:r>
              <a:r>
                <a:rPr lang="ru-RU" sz="907" dirty="0">
                  <a:solidFill>
                    <a:srgbClr val="000000"/>
                  </a:solidFill>
                </a:rPr>
                <a:t> Р.А.</a:t>
              </a:r>
            </a:p>
          </p:txBody>
        </p:sp>
        <p:sp>
          <p:nvSpPr>
            <p:cNvPr id="96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41575" y="1236751"/>
              <a:ext cx="656381" cy="2093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Не требуетс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grpSp>
        <p:nvGrpSpPr>
          <p:cNvPr id="95" name="Группа 94"/>
          <p:cNvGrpSpPr/>
          <p:nvPr/>
        </p:nvGrpSpPr>
        <p:grpSpPr>
          <a:xfrm>
            <a:off x="1609899" y="2021091"/>
            <a:ext cx="8916886" cy="1364542"/>
            <a:chOff x="388559" y="1174743"/>
            <a:chExt cx="8406795" cy="790753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99" name="Rounded Rectangle 151"/>
            <p:cNvSpPr/>
            <p:nvPr/>
          </p:nvSpPr>
          <p:spPr>
            <a:xfrm>
              <a:off x="388886" y="1203599"/>
              <a:ext cx="8406468" cy="761562"/>
            </a:xfrm>
            <a:prstGeom prst="roundRect">
              <a:avLst/>
            </a:prstGeom>
            <a:grpFill/>
            <a:ln w="571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1729" tIns="15865" rIns="31729" bIns="15865" anchor="ctr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7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01" name="TextBox 176"/>
            <p:cNvSpPr txBox="1">
              <a:spLocks/>
            </p:cNvSpPr>
            <p:nvPr/>
          </p:nvSpPr>
          <p:spPr bwMode="auto">
            <a:xfrm>
              <a:off x="541474" y="1228999"/>
              <a:ext cx="1582253" cy="40446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1059633" eaLnBrk="1" hangingPunct="1">
                <a:buClr>
                  <a:srgbClr val="000000"/>
                </a:buClr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Создание единого информационного пространства по повышению привлекательности и узнаваемости образования РК</a:t>
              </a:r>
              <a:endParaRPr lang="ru-RU" sz="907" i="1" dirty="0">
                <a:solidFill>
                  <a:srgbClr val="000000"/>
                </a:solidFill>
              </a:endParaRPr>
            </a:p>
          </p:txBody>
        </p:sp>
        <p:sp>
          <p:nvSpPr>
            <p:cNvPr id="103" name="Tracker circle"/>
            <p:cNvSpPr/>
            <p:nvPr/>
          </p:nvSpPr>
          <p:spPr>
            <a:xfrm>
              <a:off x="388559" y="1174743"/>
              <a:ext cx="114856" cy="12977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dirty="0">
                  <a:solidFill>
                    <a:srgbClr val="FFFFFF"/>
                  </a:solidFill>
                  <a:latin typeface="Segoe UI Light"/>
                  <a:ea typeface="ＭＳ Ｐゴシック"/>
                </a:rPr>
                <a:t>7</a:t>
              </a:r>
              <a:endParaRPr lang="en-US" sz="907" dirty="0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04" name="TextBox 200"/>
            <p:cNvSpPr txBox="1">
              <a:spLocks/>
            </p:cNvSpPr>
            <p:nvPr/>
          </p:nvSpPr>
          <p:spPr bwMode="auto">
            <a:xfrm>
              <a:off x="2249763" y="1237466"/>
              <a:ext cx="917098" cy="8089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ОН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105" name="TextBox 201">
              <a:extLst>
                <a:ext uri="{FF2B5EF4-FFF2-40B4-BE49-F238E27FC236}">
                  <a16:creationId xmlns:a16="http://schemas.microsoft.com/office/drawing/2014/main" xmlns="" id="{A9BBC0A8-3E56-4510-8ADF-52E9D0F7F6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15989" y="1237466"/>
              <a:ext cx="1057230" cy="72803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МИД, АО «Центр международных программ», </a:t>
              </a:r>
              <a:r>
                <a:rPr lang="ru-RU" sz="907" dirty="0">
                  <a:solidFill>
                    <a:srgbClr val="000000"/>
                  </a:solidFill>
                </a:rPr>
                <a:t>АО «Центр Болонского процесса и академической мобильности», высшие учебные заведени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07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90042" y="1228630"/>
              <a:ext cx="656381" cy="2426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До 20 декабря 2019 г.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108" name="TextBox 204"/>
            <p:cNvSpPr txBox="1">
              <a:spLocks/>
            </p:cNvSpPr>
            <p:nvPr/>
          </p:nvSpPr>
          <p:spPr bwMode="auto">
            <a:xfrm>
              <a:off x="6818305" y="1236616"/>
              <a:ext cx="1003357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Размещение </a:t>
              </a:r>
              <a:r>
                <a:rPr lang="ru-RU" sz="907" dirty="0" err="1">
                  <a:solidFill>
                    <a:srgbClr val="000000"/>
                  </a:solidFill>
                </a:rPr>
                <a:t>Brand</a:t>
              </a:r>
              <a:r>
                <a:rPr lang="ru-RU" sz="907" dirty="0">
                  <a:solidFill>
                    <a:srgbClr val="000000"/>
                  </a:solidFill>
                </a:rPr>
                <a:t> </a:t>
              </a:r>
              <a:r>
                <a:rPr lang="ru-RU" sz="907" dirty="0" err="1">
                  <a:solidFill>
                    <a:srgbClr val="000000"/>
                  </a:solidFill>
                </a:rPr>
                <a:t>book</a:t>
              </a:r>
              <a:r>
                <a:rPr lang="ru-RU" sz="907" dirty="0">
                  <a:solidFill>
                    <a:srgbClr val="000000"/>
                  </a:solidFill>
                </a:rPr>
                <a:t> на сайтах 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09" name="TextBox 200"/>
            <p:cNvSpPr txBox="1">
              <a:spLocks/>
            </p:cNvSpPr>
            <p:nvPr/>
          </p:nvSpPr>
          <p:spPr bwMode="auto">
            <a:xfrm>
              <a:off x="3144126" y="1237466"/>
              <a:ext cx="917098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Жакыпова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Ф.Н.</a:t>
              </a:r>
            </a:p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Бигари</a:t>
              </a:r>
              <a:r>
                <a:rPr lang="ru-RU" sz="907" dirty="0">
                  <a:solidFill>
                    <a:srgbClr val="000000"/>
                  </a:solidFill>
                </a:rPr>
                <a:t> Р.А.</a:t>
              </a:r>
            </a:p>
          </p:txBody>
        </p:sp>
        <p:sp>
          <p:nvSpPr>
            <p:cNvPr id="111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47466" y="1223140"/>
              <a:ext cx="656381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Не требуетс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sp>
        <p:nvSpPr>
          <p:cNvPr id="126" name="TextBox 201">
            <a:extLst>
              <a:ext uri="{FF2B5EF4-FFF2-40B4-BE49-F238E27FC236}">
                <a16:creationId xmlns:a16="http://schemas.microsoft.com/office/drawing/2014/main" xmlns="" id="{2D91191C-E677-4EA5-8F84-718E163168FA}"/>
              </a:ext>
            </a:extLst>
          </p:cNvPr>
          <p:cNvSpPr txBox="1">
            <a:spLocks/>
          </p:cNvSpPr>
          <p:nvPr/>
        </p:nvSpPr>
        <p:spPr bwMode="auto">
          <a:xfrm>
            <a:off x="7403844" y="1550193"/>
            <a:ext cx="696207" cy="418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eaLnBrk="1" hangingPunct="1">
              <a:buClr>
                <a:srgbClr val="002960"/>
              </a:buClr>
              <a:buSzPct val="125000"/>
              <a:defRPr/>
            </a:pPr>
            <a:r>
              <a:rPr lang="ru-RU" sz="907" dirty="0">
                <a:solidFill>
                  <a:srgbClr val="000000"/>
                </a:solidFill>
              </a:rPr>
              <a:t>До 20 декабря 2019 г.</a:t>
            </a:r>
            <a:endParaRPr lang="en-US" sz="907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74" name="Группа 73"/>
          <p:cNvGrpSpPr/>
          <p:nvPr/>
        </p:nvGrpSpPr>
        <p:grpSpPr>
          <a:xfrm>
            <a:off x="1599685" y="3381877"/>
            <a:ext cx="8916886" cy="1035421"/>
            <a:chOff x="388559" y="1174743"/>
            <a:chExt cx="8406795" cy="60002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75" name="Rounded Rectangle 151"/>
            <p:cNvSpPr/>
            <p:nvPr/>
          </p:nvSpPr>
          <p:spPr>
            <a:xfrm>
              <a:off x="388886" y="1203598"/>
              <a:ext cx="8406468" cy="571172"/>
            </a:xfrm>
            <a:prstGeom prst="roundRect">
              <a:avLst/>
            </a:prstGeom>
            <a:grpFill/>
            <a:ln w="571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1729" tIns="15865" rIns="31729" bIns="15865" anchor="ctr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7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6" name="TextBox 176"/>
            <p:cNvSpPr txBox="1">
              <a:spLocks/>
            </p:cNvSpPr>
            <p:nvPr/>
          </p:nvSpPr>
          <p:spPr bwMode="auto">
            <a:xfrm>
              <a:off x="541474" y="1228999"/>
              <a:ext cx="1582253" cy="48535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1059633" eaLnBrk="1" hangingPunct="1">
                <a:buClr>
                  <a:srgbClr val="000000"/>
                </a:buClr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Открытие центров казахского языка и культуры в ведущих университетах мира при содействии загранучреждений РК, ассоциаций казахстанских студентов, диаспоры</a:t>
              </a:r>
            </a:p>
          </p:txBody>
        </p:sp>
        <p:sp>
          <p:nvSpPr>
            <p:cNvPr id="81" name="Tracker circle"/>
            <p:cNvSpPr/>
            <p:nvPr/>
          </p:nvSpPr>
          <p:spPr>
            <a:xfrm>
              <a:off x="388559" y="1174743"/>
              <a:ext cx="114856" cy="12977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dirty="0">
                  <a:solidFill>
                    <a:srgbClr val="FFFFFF"/>
                  </a:solidFill>
                  <a:latin typeface="Segoe UI Light"/>
                  <a:ea typeface="ＭＳ Ｐゴシック"/>
                </a:rPr>
                <a:t>8</a:t>
              </a:r>
              <a:endParaRPr lang="en-US" sz="907" dirty="0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86" name="TextBox 200"/>
            <p:cNvSpPr txBox="1">
              <a:spLocks/>
            </p:cNvSpPr>
            <p:nvPr/>
          </p:nvSpPr>
          <p:spPr bwMode="auto">
            <a:xfrm>
              <a:off x="2249763" y="1237466"/>
              <a:ext cx="917098" cy="8089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ОН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201">
              <a:extLst>
                <a:ext uri="{FF2B5EF4-FFF2-40B4-BE49-F238E27FC236}">
                  <a16:creationId xmlns:a16="http://schemas.microsoft.com/office/drawing/2014/main" xmlns="" id="{A9BBC0A8-3E56-4510-8ADF-52E9D0F7F6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486102" y="1228999"/>
              <a:ext cx="1057230" cy="32356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ИД, АО «Центр международных программ», высшие учебные заведени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93" name="TextBox 204"/>
            <p:cNvSpPr txBox="1">
              <a:spLocks/>
            </p:cNvSpPr>
            <p:nvPr/>
          </p:nvSpPr>
          <p:spPr bwMode="auto">
            <a:xfrm>
              <a:off x="6816212" y="1239632"/>
              <a:ext cx="951751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Центры казахского языка за рубежом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98" name="TextBox 200"/>
            <p:cNvSpPr txBox="1">
              <a:spLocks/>
            </p:cNvSpPr>
            <p:nvPr/>
          </p:nvSpPr>
          <p:spPr bwMode="auto">
            <a:xfrm>
              <a:off x="3144126" y="1237466"/>
              <a:ext cx="917098" cy="1617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Жакыпова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Ф.Н.</a:t>
              </a:r>
            </a:p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Бигари</a:t>
              </a:r>
              <a:r>
                <a:rPr lang="ru-RU" sz="907" dirty="0">
                  <a:solidFill>
                    <a:srgbClr val="000000"/>
                  </a:solidFill>
                </a:rPr>
                <a:t> Р.А.</a:t>
              </a:r>
            </a:p>
          </p:txBody>
        </p:sp>
        <p:sp>
          <p:nvSpPr>
            <p:cNvPr id="110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14615" y="1223140"/>
              <a:ext cx="656381" cy="8089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Уточняетс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sp>
        <p:nvSpPr>
          <p:cNvPr id="127" name="TextBox 201">
            <a:extLst>
              <a:ext uri="{FF2B5EF4-FFF2-40B4-BE49-F238E27FC236}">
                <a16:creationId xmlns:a16="http://schemas.microsoft.com/office/drawing/2014/main" xmlns="" id="{2D91191C-E677-4EA5-8F84-718E163168FA}"/>
              </a:ext>
            </a:extLst>
          </p:cNvPr>
          <p:cNvSpPr txBox="1">
            <a:spLocks/>
          </p:cNvSpPr>
          <p:nvPr/>
        </p:nvSpPr>
        <p:spPr bwMode="auto">
          <a:xfrm>
            <a:off x="7422696" y="3499677"/>
            <a:ext cx="752773" cy="697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eaLnBrk="1" hangingPunct="1">
              <a:buClr>
                <a:srgbClr val="002960"/>
              </a:buClr>
              <a:buSzPct val="125000"/>
              <a:defRPr/>
            </a:pPr>
            <a:r>
              <a:rPr lang="ru-RU" sz="907" dirty="0">
                <a:solidFill>
                  <a:srgbClr val="000000"/>
                </a:solidFill>
              </a:rPr>
              <a:t>На постоянной основе </a:t>
            </a:r>
          </a:p>
          <a:p>
            <a:pPr marL="0" lvl="1" eaLnBrk="1" hangingPunct="1">
              <a:buClr>
                <a:srgbClr val="002960"/>
              </a:buClr>
              <a:buSzPct val="125000"/>
              <a:defRPr/>
            </a:pPr>
            <a:r>
              <a:rPr lang="ru-RU" sz="907" dirty="0">
                <a:solidFill>
                  <a:srgbClr val="000000"/>
                </a:solidFill>
              </a:rPr>
              <a:t>(2020-2021 гг.)</a:t>
            </a:r>
            <a:endParaRPr lang="en-US" sz="907" dirty="0">
              <a:solidFill>
                <a:srgbClr val="000000"/>
              </a:solidFill>
            </a:endParaRPr>
          </a:p>
        </p:txBody>
      </p:sp>
      <p:grpSp>
        <p:nvGrpSpPr>
          <p:cNvPr id="128" name="Группа 127"/>
          <p:cNvGrpSpPr/>
          <p:nvPr/>
        </p:nvGrpSpPr>
        <p:grpSpPr>
          <a:xfrm>
            <a:off x="1611286" y="4430414"/>
            <a:ext cx="8916886" cy="1527464"/>
            <a:chOff x="388559" y="1174743"/>
            <a:chExt cx="8406795" cy="734778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29" name="Rounded Rectangle 151"/>
            <p:cNvSpPr/>
            <p:nvPr/>
          </p:nvSpPr>
          <p:spPr>
            <a:xfrm>
              <a:off x="388886" y="1203596"/>
              <a:ext cx="8406468" cy="705925"/>
            </a:xfrm>
            <a:prstGeom prst="roundRect">
              <a:avLst/>
            </a:prstGeom>
            <a:grpFill/>
            <a:ln w="571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1729" tIns="15865" rIns="31729" bIns="15865" anchor="ctr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07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30" name="TextBox 176"/>
            <p:cNvSpPr txBox="1">
              <a:spLocks/>
            </p:cNvSpPr>
            <p:nvPr/>
          </p:nvSpPr>
          <p:spPr bwMode="auto">
            <a:xfrm>
              <a:off x="541474" y="1228998"/>
              <a:ext cx="1582253" cy="26859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ru-RU" sz="907" dirty="0">
                  <a:solidFill>
                    <a:srgbClr val="000000"/>
                  </a:solidFill>
                </a:rPr>
                <a:t>Форум иностранных студентов в Казахстане при содействии вузов и их международных партнеров</a:t>
              </a:r>
            </a:p>
          </p:txBody>
        </p:sp>
        <p:sp>
          <p:nvSpPr>
            <p:cNvPr id="131" name="Tracker circle"/>
            <p:cNvSpPr/>
            <p:nvPr/>
          </p:nvSpPr>
          <p:spPr>
            <a:xfrm>
              <a:off x="388559" y="1174743"/>
              <a:ext cx="114856" cy="12977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 defTabSz="105963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7" dirty="0">
                  <a:solidFill>
                    <a:srgbClr val="FFFFFF"/>
                  </a:solidFill>
                  <a:latin typeface="Segoe UI Light"/>
                  <a:ea typeface="ＭＳ Ｐゴシック"/>
                </a:rPr>
                <a:t>9</a:t>
              </a:r>
              <a:endParaRPr lang="en-US" sz="907" dirty="0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32" name="TextBox 200"/>
            <p:cNvSpPr txBox="1">
              <a:spLocks/>
            </p:cNvSpPr>
            <p:nvPr/>
          </p:nvSpPr>
          <p:spPr bwMode="auto">
            <a:xfrm>
              <a:off x="2249763" y="1237466"/>
              <a:ext cx="917098" cy="671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МОН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133" name="TextBox 201">
              <a:extLst>
                <a:ext uri="{FF2B5EF4-FFF2-40B4-BE49-F238E27FC236}">
                  <a16:creationId xmlns:a16="http://schemas.microsoft.com/office/drawing/2014/main" xmlns="" id="{A9BBC0A8-3E56-4510-8ADF-52E9D0F7F68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15989" y="1237466"/>
              <a:ext cx="1084954" cy="60433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АО «Центр международных программ», АО «Центр Болонского процесса и академической мобильности», высшие учебные заведения</a:t>
              </a:r>
              <a:endParaRPr lang="en-US" sz="907" dirty="0">
                <a:solidFill>
                  <a:srgbClr val="000000"/>
                </a:solidFill>
              </a:endParaRPr>
            </a:p>
          </p:txBody>
        </p:sp>
        <p:sp>
          <p:nvSpPr>
            <p:cNvPr id="134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10892" y="1250847"/>
              <a:ext cx="656381" cy="13429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</a:rPr>
                <a:t>Ноябрь 2020 г.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5" name="TextBox 204"/>
            <p:cNvSpPr txBox="1">
              <a:spLocks/>
            </p:cNvSpPr>
            <p:nvPr/>
          </p:nvSpPr>
          <p:spPr bwMode="auto">
            <a:xfrm>
              <a:off x="6837755" y="1250847"/>
              <a:ext cx="1003357" cy="671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Форум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6" name="TextBox 200"/>
            <p:cNvSpPr txBox="1">
              <a:spLocks/>
            </p:cNvSpPr>
            <p:nvPr/>
          </p:nvSpPr>
          <p:spPr bwMode="auto">
            <a:xfrm>
              <a:off x="3144126" y="1237466"/>
              <a:ext cx="917098" cy="13429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  <a:ea typeface="ＭＳ Ｐゴシック"/>
                </a:rPr>
                <a:t>Жакыпова</a:t>
              </a: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 Ф.Н.</a:t>
              </a:r>
            </a:p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907" dirty="0" err="1">
                  <a:solidFill>
                    <a:srgbClr val="000000"/>
                  </a:solidFill>
                </a:rPr>
                <a:t>Бигари</a:t>
              </a:r>
              <a:r>
                <a:rPr lang="ru-RU" sz="907" dirty="0">
                  <a:solidFill>
                    <a:srgbClr val="000000"/>
                  </a:solidFill>
                </a:rPr>
                <a:t> Р.А.</a:t>
              </a:r>
            </a:p>
          </p:txBody>
        </p:sp>
        <p:sp>
          <p:nvSpPr>
            <p:cNvPr id="137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14615" y="1223140"/>
              <a:ext cx="656381" cy="6714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defTabSz="1037557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defRPr/>
              </a:pPr>
              <a:r>
                <a:rPr lang="ru-RU" sz="907" dirty="0">
                  <a:solidFill>
                    <a:srgbClr val="000000"/>
                  </a:solidFill>
                  <a:ea typeface="ＭＳ Ｐゴシック"/>
                </a:rPr>
                <a:t>Уточняется</a:t>
              </a:r>
              <a:endParaRPr lang="en-US" sz="907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sp>
        <p:nvSpPr>
          <p:cNvPr id="61" name="Прямоугольный треугольник 60"/>
          <p:cNvSpPr/>
          <p:nvPr/>
        </p:nvSpPr>
        <p:spPr>
          <a:xfrm flipV="1">
            <a:off x="1" y="-4"/>
            <a:ext cx="2137471" cy="983423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882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ый треугольник 27"/>
          <p:cNvSpPr/>
          <p:nvPr/>
        </p:nvSpPr>
        <p:spPr>
          <a:xfrm flipV="1">
            <a:off x="1" y="-4"/>
            <a:ext cx="2137471" cy="983423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2" name="Object 21" hidden="1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2459157" y="1"/>
          <a:ext cx="128852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459157" y="1"/>
                        <a:ext cx="128852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2459157" y="1"/>
            <a:ext cx="128852" cy="161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78" dirty="0" err="1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441445" y="685092"/>
            <a:ext cx="9327705" cy="298327"/>
          </a:xfrm>
        </p:spPr>
        <p:txBody>
          <a:bodyPr>
            <a:noAutofit/>
          </a:bodyPr>
          <a:lstStyle/>
          <a:p>
            <a:r>
              <a:rPr lang="ru-RU" sz="1814" b="1" dirty="0">
                <a:latin typeface="+mn-lt"/>
              </a:rPr>
              <a:t>Пример проекта: Привлечение иностранных студентов</a:t>
            </a:r>
            <a:endParaRPr lang="en-US" sz="1814" b="1" dirty="0">
              <a:latin typeface="+mn-lt"/>
            </a:endParaRPr>
          </a:p>
        </p:txBody>
      </p:sp>
      <p:grpSp>
        <p:nvGrpSpPr>
          <p:cNvPr id="145" name="sticker">
            <a:extLst>
              <a:ext uri="{FF2B5EF4-FFF2-40B4-BE49-F238E27FC236}">
                <a16:creationId xmlns:a16="http://schemas.microsoft.com/office/drawing/2014/main" xmlns="" id="{74779336-5F5C-4512-91A4-B4EBBD40F3CE}"/>
              </a:ext>
            </a:extLst>
          </p:cNvPr>
          <p:cNvGrpSpPr/>
          <p:nvPr/>
        </p:nvGrpSpPr>
        <p:grpSpPr>
          <a:xfrm>
            <a:off x="9955404" y="370734"/>
            <a:ext cx="804445" cy="124259"/>
            <a:chOff x="8210628" y="250848"/>
            <a:chExt cx="758427" cy="93195"/>
          </a:xfrm>
        </p:grpSpPr>
        <p:sp>
          <p:nvSpPr>
            <p:cNvPr id="146" name="StickerRectangle">
              <a:extLst>
                <a:ext uri="{FF2B5EF4-FFF2-40B4-BE49-F238E27FC236}">
                  <a16:creationId xmlns:a16="http://schemas.microsoft.com/office/drawing/2014/main" xmlns="" id="{23FBB730-A5B3-4238-84A4-BDA654E8830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10628" y="250848"/>
              <a:ext cx="758427" cy="931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2440" tIns="0" rIns="0" bIns="12440">
              <a:spAutoFit/>
            </a:bodyPr>
            <a:lstStyle/>
            <a:p>
              <a:pPr algn="r" defTabSz="79393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ru-RU" sz="726" dirty="0">
                  <a:solidFill>
                    <a:srgbClr val="808080"/>
                  </a:solidFill>
                  <a:latin typeface="Segoe UI Light"/>
                  <a:ea typeface="ＭＳ Ｐゴシック"/>
                </a:rPr>
                <a:t>ИЛЛЮСТРАТИВНО</a:t>
              </a:r>
            </a:p>
          </p:txBody>
        </p:sp>
        <p:cxnSp>
          <p:nvCxnSpPr>
            <p:cNvPr id="147" name="AutoShape 31">
              <a:extLst>
                <a:ext uri="{FF2B5EF4-FFF2-40B4-BE49-F238E27FC236}">
                  <a16:creationId xmlns:a16="http://schemas.microsoft.com/office/drawing/2014/main" xmlns="" id="{A55BA8E7-7E39-44CB-9C38-945E5C7DF3ED}"/>
                </a:ext>
              </a:extLst>
            </p:cNvPr>
            <p:cNvCxnSpPr>
              <a:cxnSpLocks noChangeShapeType="1"/>
              <a:stCxn id="146" idx="2"/>
              <a:endCxn id="146" idx="4"/>
            </p:cNvCxnSpPr>
            <p:nvPr/>
          </p:nvCxnSpPr>
          <p:spPr bwMode="gray">
            <a:xfrm>
              <a:off x="8212215" y="250848"/>
              <a:ext cx="0" cy="9316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AutoShape 32">
              <a:extLst>
                <a:ext uri="{FF2B5EF4-FFF2-40B4-BE49-F238E27FC236}">
                  <a16:creationId xmlns:a16="http://schemas.microsoft.com/office/drawing/2014/main" xmlns="" id="{304B97B1-3490-4CBD-B004-1DE8EAC068B6}"/>
                </a:ext>
              </a:extLst>
            </p:cNvPr>
            <p:cNvCxnSpPr>
              <a:cxnSpLocks noChangeShapeType="1"/>
              <a:stCxn id="146" idx="4"/>
              <a:endCxn id="146" idx="6"/>
            </p:cNvCxnSpPr>
            <p:nvPr/>
          </p:nvCxnSpPr>
          <p:spPr bwMode="gray">
            <a:xfrm>
              <a:off x="8212215" y="344015"/>
              <a:ext cx="75684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" name="Группа 5"/>
          <p:cNvGrpSpPr/>
          <p:nvPr/>
        </p:nvGrpSpPr>
        <p:grpSpPr>
          <a:xfrm>
            <a:off x="1432149" y="1216485"/>
            <a:ext cx="9327705" cy="5087182"/>
            <a:chOff x="174944" y="981080"/>
            <a:chExt cx="8794113" cy="3602931"/>
          </a:xfrm>
        </p:grpSpPr>
        <p:sp>
          <p:nvSpPr>
            <p:cNvPr id="16" name="Rectangle 15"/>
            <p:cNvSpPr txBox="1"/>
            <p:nvPr>
              <p:custDataLst>
                <p:tags r:id="rId5"/>
              </p:custDataLst>
            </p:nvPr>
          </p:nvSpPr>
          <p:spPr>
            <a:xfrm>
              <a:off x="183708" y="1034289"/>
              <a:ext cx="8767085" cy="3549722"/>
            </a:xfrm>
            <a:prstGeom prst="rect">
              <a:avLst/>
            </a:prstGeom>
            <a:noFill/>
            <a:ln w="15875">
              <a:solidFill>
                <a:schemeClr val="accent2">
                  <a:lumMod val="20000"/>
                  <a:lumOff val="80000"/>
                </a:schemeClr>
              </a:solidFill>
            </a:ln>
          </p:spPr>
          <p:txBody>
            <a:bodyPr vert="horz" lIns="26444" tIns="26444" rIns="26444" bIns="26444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103755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endParaRPr lang="en-US" sz="907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8" name="Rectangle 75"/>
            <p:cNvSpPr txBox="1"/>
            <p:nvPr>
              <p:custDataLst>
                <p:tags r:id="rId6"/>
              </p:custDataLst>
            </p:nvPr>
          </p:nvSpPr>
          <p:spPr>
            <a:xfrm>
              <a:off x="175729" y="1034289"/>
              <a:ext cx="8793328" cy="20294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vert="horz" lIns="26444" tIns="26444" rIns="26444" bIns="26444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809457" fontAlgn="base">
                <a:spcBef>
                  <a:spcPct val="8000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endParaRPr lang="ru-RU" sz="907" dirty="0">
                <a:solidFill>
                  <a:srgbClr val="0065BD"/>
                </a:solidFill>
                <a:latin typeface="Segoe UI Light"/>
                <a:ea typeface="ＭＳ Ｐゴシック"/>
                <a:cs typeface="Arial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83708" y="981080"/>
              <a:ext cx="7236623" cy="26157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1037557" fontAlgn="base">
                <a:spcBef>
                  <a:spcPct val="8000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az-Cyrl-AZ" sz="2400" b="1" dirty="0">
                  <a:solidFill>
                    <a:srgbClr val="8B4D80"/>
                  </a:solidFill>
                  <a:ea typeface="ＭＳ Ｐゴシック"/>
                  <a:cs typeface="Arial" panose="020B0604020202020204" pitchFamily="34" charset="0"/>
                </a:rPr>
                <a:t>Целевые показатели и критерии успеха</a:t>
              </a:r>
            </a:p>
          </p:txBody>
        </p:sp>
        <p:cxnSp>
          <p:nvCxnSpPr>
            <p:cNvPr id="83" name="Straight Connector 82"/>
            <p:cNvCxnSpPr/>
            <p:nvPr/>
          </p:nvCxnSpPr>
          <p:spPr>
            <a:xfrm>
              <a:off x="243633" y="2785839"/>
              <a:ext cx="8537872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6" name="Group 105"/>
            <p:cNvGrpSpPr>
              <a:grpSpLocks/>
            </p:cNvGrpSpPr>
            <p:nvPr/>
          </p:nvGrpSpPr>
          <p:grpSpPr>
            <a:xfrm>
              <a:off x="174944" y="1307256"/>
              <a:ext cx="2154167" cy="1398984"/>
              <a:chOff x="0" y="1675227"/>
              <a:chExt cx="2090736" cy="679161"/>
            </a:xfrm>
          </p:grpSpPr>
          <p:grpSp>
            <p:nvGrpSpPr>
              <p:cNvPr id="107" name="Group 106"/>
              <p:cNvGrpSpPr>
                <a:grpSpLocks/>
              </p:cNvGrpSpPr>
              <p:nvPr/>
            </p:nvGrpSpPr>
            <p:grpSpPr>
              <a:xfrm>
                <a:off x="0" y="1675227"/>
                <a:ext cx="2090736" cy="679161"/>
                <a:chOff x="0" y="1259623"/>
                <a:chExt cx="1972235" cy="2580072"/>
              </a:xfrm>
            </p:grpSpPr>
            <p:sp>
              <p:nvSpPr>
                <p:cNvPr id="109" name="Rounded Rectangle 108"/>
                <p:cNvSpPr>
                  <a:spLocks/>
                </p:cNvSpPr>
                <p:nvPr/>
              </p:nvSpPr>
              <p:spPr>
                <a:xfrm>
                  <a:off x="119063" y="1259623"/>
                  <a:ext cx="1853172" cy="2580072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059633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ru-RU" sz="1043" dirty="0" err="1">
                    <a:solidFill>
                      <a:srgbClr val="000000"/>
                    </a:solidFill>
                    <a:latin typeface="Segoe UI Light"/>
                    <a:ea typeface="ＭＳ Ｐゴシック"/>
                  </a:endParaRPr>
                </a:p>
              </p:txBody>
            </p:sp>
            <p:sp>
              <p:nvSpPr>
                <p:cNvPr id="110" name="Rectangle 109"/>
                <p:cNvSpPr>
                  <a:spLocks/>
                </p:cNvSpPr>
                <p:nvPr/>
              </p:nvSpPr>
              <p:spPr>
                <a:xfrm>
                  <a:off x="0" y="1259623"/>
                  <a:ext cx="809625" cy="258007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059633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ru-RU" sz="1043" dirty="0" err="1">
                    <a:solidFill>
                      <a:srgbClr val="000000"/>
                    </a:solidFill>
                    <a:latin typeface="Segoe UI Light"/>
                    <a:ea typeface="ＭＳ Ｐゴシック"/>
                  </a:endParaRPr>
                </a:p>
              </p:txBody>
            </p:sp>
          </p:grpSp>
          <p:sp>
            <p:nvSpPr>
              <p:cNvPr id="108" name="TextBox 107"/>
              <p:cNvSpPr txBox="1">
                <a:spLocks/>
              </p:cNvSpPr>
              <p:nvPr/>
            </p:nvSpPr>
            <p:spPr>
              <a:xfrm>
                <a:off x="130161" y="1863878"/>
                <a:ext cx="1830415" cy="311953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defRPr sz="1600" b="1" i="0" u="none" strike="noStrike" kern="1200" baseline="0">
                    <a:solidFill>
                      <a:prstClr val="black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pPr>
                <a:r>
                  <a:rPr lang="ru-RU" sz="1179" dirty="0"/>
                  <a:t>Доля иностранных студентов в системе высшего образования, в </a:t>
                </a:r>
                <a:r>
                  <a:rPr lang="ru-RU" sz="1179" dirty="0" err="1"/>
                  <a:t>т.ч</a:t>
                </a:r>
                <a:r>
                  <a:rPr lang="ru-RU" sz="1179" dirty="0"/>
                  <a:t>. обучающихся на коммерческой основе, %</a:t>
                </a:r>
              </a:p>
            </p:txBody>
          </p:sp>
        </p:grpSp>
        <p:grpSp>
          <p:nvGrpSpPr>
            <p:cNvPr id="112" name="Group 111"/>
            <p:cNvGrpSpPr>
              <a:grpSpLocks/>
            </p:cNvGrpSpPr>
            <p:nvPr/>
          </p:nvGrpSpPr>
          <p:grpSpPr>
            <a:xfrm>
              <a:off x="174944" y="2852698"/>
              <a:ext cx="2154167" cy="1398984"/>
              <a:chOff x="0" y="1675227"/>
              <a:chExt cx="2090736" cy="679161"/>
            </a:xfrm>
          </p:grpSpPr>
          <p:grpSp>
            <p:nvGrpSpPr>
              <p:cNvPr id="113" name="Group 112"/>
              <p:cNvGrpSpPr>
                <a:grpSpLocks/>
              </p:cNvGrpSpPr>
              <p:nvPr/>
            </p:nvGrpSpPr>
            <p:grpSpPr>
              <a:xfrm>
                <a:off x="0" y="1675227"/>
                <a:ext cx="2090736" cy="679161"/>
                <a:chOff x="0" y="1259623"/>
                <a:chExt cx="1972235" cy="2580072"/>
              </a:xfrm>
            </p:grpSpPr>
            <p:sp>
              <p:nvSpPr>
                <p:cNvPr id="116" name="Rounded Rectangle 115"/>
                <p:cNvSpPr>
                  <a:spLocks/>
                </p:cNvSpPr>
                <p:nvPr/>
              </p:nvSpPr>
              <p:spPr>
                <a:xfrm>
                  <a:off x="119063" y="1259623"/>
                  <a:ext cx="1853172" cy="2580072"/>
                </a:xfrm>
                <a:prstGeom prst="round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1059633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ru-RU" sz="1043" dirty="0" err="1">
                    <a:solidFill>
                      <a:srgbClr val="000000"/>
                    </a:solidFill>
                    <a:latin typeface="Segoe UI Light"/>
                    <a:ea typeface="ＭＳ Ｐゴシック"/>
                  </a:endParaRPr>
                </a:p>
              </p:txBody>
            </p:sp>
            <p:sp>
              <p:nvSpPr>
                <p:cNvPr id="117" name="Rectangle 116"/>
                <p:cNvSpPr>
                  <a:spLocks/>
                </p:cNvSpPr>
                <p:nvPr/>
              </p:nvSpPr>
              <p:spPr>
                <a:xfrm>
                  <a:off x="0" y="1259623"/>
                  <a:ext cx="809625" cy="258007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1059633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ru-RU" sz="1043" dirty="0" err="1">
                    <a:solidFill>
                      <a:srgbClr val="000000"/>
                    </a:solidFill>
                    <a:latin typeface="Segoe UI Light"/>
                    <a:ea typeface="ＭＳ Ｐゴシック"/>
                  </a:endParaRPr>
                </a:p>
              </p:txBody>
            </p:sp>
          </p:grpSp>
          <p:sp>
            <p:nvSpPr>
              <p:cNvPr id="114" name="TextBox 113"/>
              <p:cNvSpPr txBox="1">
                <a:spLocks/>
              </p:cNvSpPr>
              <p:nvPr/>
            </p:nvSpPr>
            <p:spPr>
              <a:xfrm>
                <a:off x="130161" y="1714727"/>
                <a:ext cx="1830414" cy="610261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defRPr sz="1600" b="1" i="0" u="none" strike="noStrike" kern="1200" baseline="0">
                    <a:solidFill>
                      <a:prstClr val="black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pPr>
                <a:r>
                  <a:rPr lang="ru-RU" sz="1179" dirty="0"/>
                  <a:t>Доля образовательных программ высших учебных заведений на английском языке, %</a:t>
                </a:r>
              </a:p>
            </p:txBody>
          </p:sp>
        </p:grpSp>
        <p:graphicFrame>
          <p:nvGraphicFramePr>
            <p:cNvPr id="2" name="Диаграмма 1"/>
            <p:cNvGraphicFramePr/>
            <p:nvPr>
              <p:extLst>
                <p:ext uri="{D42A27DB-BD31-4B8C-83A1-F6EECF244321}">
                  <p14:modId xmlns:p14="http://schemas.microsoft.com/office/powerpoint/2010/main" val="1602235680"/>
                </p:ext>
              </p:extLst>
            </p:nvPr>
          </p:nvGraphicFramePr>
          <p:xfrm>
            <a:off x="2641864" y="1074201"/>
            <a:ext cx="6096000" cy="168586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aphicFrame>
          <p:nvGraphicFramePr>
            <p:cNvPr id="63" name="Диаграмма 62"/>
            <p:cNvGraphicFramePr/>
            <p:nvPr>
              <p:extLst>
                <p:ext uri="{D42A27DB-BD31-4B8C-83A1-F6EECF244321}">
                  <p14:modId xmlns:p14="http://schemas.microsoft.com/office/powerpoint/2010/main" val="3962568892"/>
                </p:ext>
              </p:extLst>
            </p:nvPr>
          </p:nvGraphicFramePr>
          <p:xfrm>
            <a:off x="2685505" y="2809150"/>
            <a:ext cx="6096000" cy="168586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</p:grpSp>
      <p:sp>
        <p:nvSpPr>
          <p:cNvPr id="27" name="1. On-page tracker">
            <a:extLst>
              <a:ext uri="{FF2B5EF4-FFF2-40B4-BE49-F238E27FC236}">
                <a16:creationId xmlns:a16="http://schemas.microsoft.com/office/drawing/2014/main" xmlns="" id="{53C3EA5F-C5F0-4EC4-B7B7-5684D47C3C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2149" y="268377"/>
            <a:ext cx="1410643" cy="223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726" cap="all" dirty="0">
                <a:solidFill>
                  <a:srgbClr val="808080"/>
                </a:solidFill>
                <a:latin typeface="Arial"/>
                <a:ea typeface="ＭＳ Ｐゴシック"/>
              </a:rPr>
              <a:t>Направление </a:t>
            </a:r>
            <a:r>
              <a:rPr lang="ru-RU" sz="680" b="1" cap="all" dirty="0">
                <a:latin typeface="Arial"/>
              </a:rPr>
              <a:t>Образование</a:t>
            </a:r>
            <a:endParaRPr lang="en-US" sz="907" b="1" cap="all" dirty="0">
              <a:latin typeface="Arial"/>
            </a:endParaRPr>
          </a:p>
          <a:p>
            <a:pPr defTabSz="1059633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726" cap="all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4870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D408AAB3-EA6E-4C6C-BC7D-5DFF216F78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081" y="1690688"/>
            <a:ext cx="11382232" cy="4078516"/>
          </a:xfrm>
          <a:ln w="28575">
            <a:solidFill>
              <a:srgbClr val="8B4D80"/>
            </a:solidFill>
          </a:ln>
        </p:spPr>
        <p:txBody>
          <a:bodyPr>
            <a:normAutofit lnSpcReduction="10000"/>
          </a:bodyPr>
          <a:lstStyle/>
          <a:p>
            <a:pPr marL="514350" indent="-514350" algn="just">
              <a:buFont typeface="+mj-lt"/>
              <a:buAutoNum type="arabicPeriod"/>
            </a:pPr>
            <a:r>
              <a:rPr lang="ru-RU" sz="3200" dirty="0" smtClean="0"/>
              <a:t>Принять к сведению информацию о деятельности Учебно-методического объединения по направлению подготовки  - Здравоохранение в рамках формата Группы управления проектами.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ru-RU" sz="3200" dirty="0" smtClean="0"/>
              <a:t>Организациям медицинского образования и НИИ, НЦ направить предложения по проектам, реализуемым в рамках ГУП на электронную почту </a:t>
            </a:r>
            <a:r>
              <a:rPr lang="en-US" sz="3200" dirty="0" smtClean="0">
                <a:solidFill>
                  <a:srgbClr val="A2344E"/>
                </a:solidFill>
                <a:hlinkClick r:id="rId2"/>
              </a:rPr>
              <a:t>umo.rums.med@gmail.com</a:t>
            </a:r>
            <a:r>
              <a:rPr lang="ru-RU" sz="3200" dirty="0" smtClean="0">
                <a:solidFill>
                  <a:srgbClr val="A2344E"/>
                </a:solidFill>
              </a:rPr>
              <a:t>,</a:t>
            </a:r>
            <a:r>
              <a:rPr lang="ru-RU" sz="3200" dirty="0" smtClean="0"/>
              <a:t> срок исполнения – 13 декабря </a:t>
            </a:r>
            <a:r>
              <a:rPr lang="ru-RU" sz="3200" dirty="0" err="1" smtClean="0"/>
              <a:t>т.г</a:t>
            </a:r>
            <a:r>
              <a:rPr lang="ru-RU" sz="3200" dirty="0" smtClean="0"/>
              <a:t>.</a:t>
            </a:r>
            <a:r>
              <a:rPr lang="ru-RU" sz="3200" dirty="0" smtClean="0"/>
              <a:t>, ответственные – руководители организаций.</a:t>
            </a:r>
            <a:endParaRPr lang="ru-RU" sz="3200" dirty="0" smtClean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273F22B-6B66-4B7F-98DD-DBEF84783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0524" y="347070"/>
            <a:ext cx="10515600" cy="1040296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latin typeface="+mn-lt"/>
              </a:rPr>
              <a:t>ПРОЕКТ </a:t>
            </a:r>
            <a:r>
              <a:rPr lang="ru-RU" sz="3600" b="1" dirty="0" smtClean="0">
                <a:latin typeface="+mn-lt"/>
              </a:rPr>
              <a:t>РЕШЕНИЯ</a:t>
            </a:r>
            <a:endParaRPr lang="ru-RU" sz="3600" b="1" dirty="0">
              <a:latin typeface="+mn-lt"/>
            </a:endParaRPr>
          </a:p>
        </p:txBody>
      </p:sp>
      <p:sp>
        <p:nvSpPr>
          <p:cNvPr id="6" name="Прямоугольный треугольник 5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ый треугольник 6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433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95219" y="1956685"/>
            <a:ext cx="9801561" cy="3046739"/>
          </a:xfrm>
          <a:solidFill>
            <a:schemeClr val="bg1">
              <a:alpha val="50000"/>
            </a:schemeClr>
          </a:solidFill>
          <a:ln>
            <a:noFill/>
          </a:ln>
          <a:effectLst>
            <a:outerShdw blurRad="50800" dist="50800" dir="5400000" sx="1000" sy="1000" algn="ctr" rotWithShape="0">
              <a:srgbClr val="000000"/>
            </a:outerShdw>
            <a:softEdge rad="635000"/>
          </a:effectLst>
        </p:spPr>
        <p:txBody>
          <a:bodyPr/>
          <a:lstStyle/>
          <a:p>
            <a:pPr marL="0" indent="0" algn="ctr">
              <a:buNone/>
            </a:pPr>
            <a:endParaRPr lang="ru-RU" dirty="0"/>
          </a:p>
          <a:p>
            <a:pPr marL="0" indent="0" algn="ctr">
              <a:buNone/>
            </a:pPr>
            <a:endParaRPr lang="ru-RU" dirty="0"/>
          </a:p>
          <a:p>
            <a:pPr marL="0" indent="0" algn="ctr">
              <a:buNone/>
            </a:pPr>
            <a:r>
              <a:rPr lang="ru-RU" sz="4400" b="1" i="1" dirty="0">
                <a:ln>
                  <a:solidFill>
                    <a:srgbClr val="8B4D80"/>
                  </a:solidFill>
                </a:ln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БЛАГОДАРЮ ЗА ВНИМАНИЕ!</a:t>
            </a:r>
          </a:p>
        </p:txBody>
      </p:sp>
      <p:sp>
        <p:nvSpPr>
          <p:cNvPr id="9" name="Прямоугольный треугольник 8"/>
          <p:cNvSpPr/>
          <p:nvPr/>
        </p:nvSpPr>
        <p:spPr>
          <a:xfrm flipV="1">
            <a:off x="0" y="0"/>
            <a:ext cx="12192000" cy="2292371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ый треугольник 9"/>
          <p:cNvSpPr/>
          <p:nvPr/>
        </p:nvSpPr>
        <p:spPr>
          <a:xfrm flipV="1">
            <a:off x="0" y="-1"/>
            <a:ext cx="10236672" cy="2292372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ый треугольник 10"/>
          <p:cNvSpPr/>
          <p:nvPr/>
        </p:nvSpPr>
        <p:spPr>
          <a:xfrm flipV="1">
            <a:off x="0" y="0"/>
            <a:ext cx="7137779" cy="2096814"/>
          </a:xfrm>
          <a:prstGeom prst="rtTriangle">
            <a:avLst/>
          </a:prstGeom>
          <a:solidFill>
            <a:srgbClr val="8B4D80"/>
          </a:solidFill>
          <a:ln>
            <a:solidFill>
              <a:srgbClr val="8B4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ый треугольник 12"/>
          <p:cNvSpPr/>
          <p:nvPr/>
        </p:nvSpPr>
        <p:spPr>
          <a:xfrm flipH="1">
            <a:off x="0" y="4552491"/>
            <a:ext cx="12192000" cy="2292371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ый треугольник 13"/>
          <p:cNvSpPr/>
          <p:nvPr/>
        </p:nvSpPr>
        <p:spPr>
          <a:xfrm flipH="1">
            <a:off x="1955328" y="4565628"/>
            <a:ext cx="10236672" cy="2292372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ый треугольник 14"/>
          <p:cNvSpPr/>
          <p:nvPr/>
        </p:nvSpPr>
        <p:spPr>
          <a:xfrm flipH="1">
            <a:off x="5054221" y="4761186"/>
            <a:ext cx="7137779" cy="2096814"/>
          </a:xfrm>
          <a:prstGeom prst="rtTriangle">
            <a:avLst/>
          </a:prstGeom>
          <a:solidFill>
            <a:srgbClr val="8B4D80"/>
          </a:solidFill>
          <a:ln>
            <a:solidFill>
              <a:srgbClr val="8B4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175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ый треугольник 8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ый треугольник 9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4968768" y="142985"/>
            <a:ext cx="7055070" cy="550697"/>
          </a:xfrm>
          <a:prstGeom prst="roundRect">
            <a:avLst/>
          </a:prstGeom>
          <a:solidFill>
            <a:srgbClr val="8B4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/>
              <a:t>УМО по направлению подготовки – Здравоохранение </a:t>
            </a:r>
            <a:endParaRPr lang="ru-RU" sz="2000" b="1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986455" y="1088916"/>
            <a:ext cx="9758855" cy="440338"/>
          </a:xfrm>
          <a:prstGeom prst="roundRect">
            <a:avLst/>
          </a:prstGeom>
          <a:noFill/>
          <a:ln w="57150">
            <a:solidFill>
              <a:srgbClr val="8B4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Деятельность в формате Группы управления проектами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4" name="Стрелка вверх 3"/>
          <p:cNvSpPr/>
          <p:nvPr/>
        </p:nvSpPr>
        <p:spPr>
          <a:xfrm>
            <a:off x="7897213" y="710544"/>
            <a:ext cx="315311" cy="283779"/>
          </a:xfrm>
          <a:prstGeom prst="upArrow">
            <a:avLst/>
          </a:prstGeom>
          <a:solidFill>
            <a:srgbClr val="8B4D80">
              <a:alpha val="80000"/>
            </a:srgbClr>
          </a:solidFill>
          <a:ln>
            <a:solidFill>
              <a:srgbClr val="8B4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554501787"/>
              </p:ext>
            </p:extLst>
          </p:nvPr>
        </p:nvGraphicFramePr>
        <p:xfrm>
          <a:off x="313558" y="1639614"/>
          <a:ext cx="11431751" cy="50922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2581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ый треугольник 1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Заголовок 3"/>
          <p:cNvSpPr>
            <a:spLocks noGrp="1"/>
          </p:cNvSpPr>
          <p:nvPr/>
        </p:nvSpPr>
        <p:spPr>
          <a:xfrm>
            <a:off x="3363115" y="497709"/>
            <a:ext cx="8623739" cy="1157669"/>
          </a:xfrm>
          <a:prstGeom prst="roundRect">
            <a:avLst/>
          </a:prstGeom>
          <a:noFill/>
          <a:ln w="28575">
            <a:solidFill>
              <a:srgbClr val="8B4D80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ru-RU" sz="2400" b="1" dirty="0">
                <a:solidFill>
                  <a:schemeClr val="tx1"/>
                </a:solidFill>
                <a:latin typeface="+mn-lt"/>
              </a:rPr>
              <a:t>ПРОЕКТ – это ограниченная временем деятельность по созданию новых (уникальных) продуктов, услуг или </a:t>
            </a:r>
            <a:r>
              <a:rPr lang="ru-RU" sz="2400" b="1" dirty="0" smtClean="0">
                <a:solidFill>
                  <a:schemeClr val="tx1"/>
                </a:solidFill>
                <a:latin typeface="+mn-lt"/>
              </a:rPr>
              <a:t>результатов.</a:t>
            </a:r>
            <a:endParaRPr lang="en-US" sz="240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Текст 4"/>
          <p:cNvSpPr txBox="1">
            <a:spLocks/>
          </p:cNvSpPr>
          <p:nvPr/>
        </p:nvSpPr>
        <p:spPr>
          <a:xfrm>
            <a:off x="1229710" y="2015302"/>
            <a:ext cx="4067505" cy="784878"/>
          </a:xfrm>
          <a:prstGeom prst="rect">
            <a:avLst/>
          </a:prstGeom>
          <a:solidFill>
            <a:srgbClr val="8B4D80"/>
          </a:solidFill>
          <a:ln>
            <a:solidFill>
              <a:srgbClr val="8B4D80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2400" b="1" dirty="0" smtClean="0">
                <a:solidFill>
                  <a:schemeClr val="bg1"/>
                </a:solidFill>
              </a:rPr>
              <a:t>Операционная деятельность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7" name="Объект 5"/>
          <p:cNvSpPr txBox="1">
            <a:spLocks/>
          </p:cNvSpPr>
          <p:nvPr/>
        </p:nvSpPr>
        <p:spPr>
          <a:xfrm>
            <a:off x="1429015" y="2879010"/>
            <a:ext cx="3868200" cy="1897696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Привычные результаты </a:t>
            </a:r>
          </a:p>
          <a:p>
            <a:r>
              <a:rPr lang="ru-RU" dirty="0" smtClean="0"/>
              <a:t>Устоявшиеся бизнес-процессы </a:t>
            </a:r>
          </a:p>
          <a:p>
            <a:r>
              <a:rPr lang="ru-RU" dirty="0" smtClean="0"/>
              <a:t>Отсутствие существенных рисков</a:t>
            </a:r>
          </a:p>
          <a:p>
            <a:r>
              <a:rPr lang="ru-RU" dirty="0" smtClean="0"/>
              <a:t>Относительно постоянный штат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8" name="Текст 6"/>
          <p:cNvSpPr txBox="1">
            <a:spLocks/>
          </p:cNvSpPr>
          <p:nvPr/>
        </p:nvSpPr>
        <p:spPr>
          <a:xfrm>
            <a:off x="6857072" y="1986844"/>
            <a:ext cx="4115728" cy="784878"/>
          </a:xfrm>
          <a:prstGeom prst="rect">
            <a:avLst/>
          </a:prstGeom>
          <a:solidFill>
            <a:srgbClr val="8B4D80"/>
          </a:solidFill>
          <a:ln>
            <a:solidFill>
              <a:srgbClr val="8B4D80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chemeClr val="bg1"/>
                </a:solidFill>
              </a:rPr>
              <a:t>Проектная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chemeClr val="bg1"/>
                </a:solidFill>
              </a:rPr>
              <a:t>деятельность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Объект 7"/>
          <p:cNvSpPr txBox="1">
            <a:spLocks/>
          </p:cNvSpPr>
          <p:nvPr/>
        </p:nvSpPr>
        <p:spPr>
          <a:xfrm>
            <a:off x="6857072" y="2800180"/>
            <a:ext cx="3887400" cy="18692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/>
              <a:t>Уникальные результаты </a:t>
            </a:r>
          </a:p>
          <a:p>
            <a:r>
              <a:rPr lang="ru-RU" sz="2000" dirty="0" smtClean="0"/>
              <a:t>Ограниченный срок</a:t>
            </a:r>
          </a:p>
          <a:p>
            <a:r>
              <a:rPr lang="ru-RU" sz="2000" dirty="0" smtClean="0"/>
              <a:t>Большое количество рисков</a:t>
            </a:r>
          </a:p>
          <a:p>
            <a:r>
              <a:rPr lang="ru-RU" sz="2000" dirty="0" smtClean="0"/>
              <a:t>Команда на один проект </a:t>
            </a:r>
            <a:endParaRPr lang="en-US" sz="2000" dirty="0" smtClean="0"/>
          </a:p>
          <a:p>
            <a:endParaRPr 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311164" y="4776706"/>
            <a:ext cx="4067505" cy="707886"/>
          </a:xfrm>
          <a:prstGeom prst="rect">
            <a:avLst/>
          </a:prstGeom>
          <a:solidFill>
            <a:schemeClr val="bg1"/>
          </a:solidFill>
          <a:ln>
            <a:solidFill>
              <a:srgbClr val="8B4D80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Экспертиза учебной литературы</a:t>
            </a:r>
          </a:p>
          <a:p>
            <a:endParaRPr lang="ru-RU" sz="2000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6871910" y="4608938"/>
            <a:ext cx="4115728" cy="1631216"/>
          </a:xfrm>
          <a:prstGeom prst="rect">
            <a:avLst/>
          </a:prstGeom>
          <a:solidFill>
            <a:schemeClr val="bg1"/>
          </a:solidFill>
          <a:ln>
            <a:solidFill>
              <a:srgbClr val="8B4D8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2000" dirty="0" smtClean="0"/>
              <a:t>Разработка новой образовательной программы (модель)</a:t>
            </a:r>
          </a:p>
          <a:p>
            <a:pPr algn="just"/>
            <a:r>
              <a:rPr lang="ru-RU" sz="2000" dirty="0" smtClean="0"/>
              <a:t>Проведение институционального исследования по обеспечению качества ОП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9051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189C2C57-32DC-4830-BF2D-21A687D0BEC7}"/>
              </a:ext>
            </a:extLst>
          </p:cNvPr>
          <p:cNvGrpSpPr/>
          <p:nvPr/>
        </p:nvGrpSpPr>
        <p:grpSpPr>
          <a:xfrm>
            <a:off x="1813035" y="213610"/>
            <a:ext cx="10178052" cy="6390611"/>
            <a:chOff x="3486365" y="-681959"/>
            <a:chExt cx="17707484" cy="11927431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A3F4F1F9-2CEC-4D00-99EA-829AEEA718FB}"/>
                </a:ext>
              </a:extLst>
            </p:cNvPr>
            <p:cNvSpPr/>
            <p:nvPr/>
          </p:nvSpPr>
          <p:spPr>
            <a:xfrm>
              <a:off x="6409262" y="1160978"/>
              <a:ext cx="8222971" cy="641117"/>
            </a:xfrm>
            <a:prstGeom prst="rect">
              <a:avLst/>
            </a:prstGeom>
            <a:noFill/>
            <a:ln w="28575">
              <a:solidFill>
                <a:srgbClr val="8B4D80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48957" tIns="74479" rIns="148957" bIns="74479" rtlCol="0" anchor="ctr"/>
            <a:lstStyle/>
            <a:p>
              <a:pPr algn="ctr"/>
              <a:r>
                <a:rPr lang="ru-RU" b="1" dirty="0" smtClean="0">
                  <a:cs typeface="Arial" panose="020B0604020202020204" pitchFamily="34" charset="0"/>
                </a:rPr>
                <a:t>Председатель УМО – Руководитель ГУП</a:t>
              </a:r>
              <a:endParaRPr lang="ru-RU" b="1" dirty="0">
                <a:cs typeface="Arial" panose="020B0604020202020204" pitchFamily="34" charset="0"/>
              </a:endParaRPr>
            </a:p>
          </p:txBody>
        </p: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xmlns="" id="{3CD26941-4E46-4335-B846-7BA6A6E44820}"/>
                </a:ext>
              </a:extLst>
            </p:cNvPr>
            <p:cNvCxnSpPr>
              <a:cxnSpLocks/>
            </p:cNvCxnSpPr>
            <p:nvPr/>
          </p:nvCxnSpPr>
          <p:spPr>
            <a:xfrm>
              <a:off x="5398410" y="3491621"/>
              <a:ext cx="10640549" cy="21937"/>
            </a:xfrm>
            <a:prstGeom prst="line">
              <a:avLst/>
            </a:prstGeom>
            <a:ln>
              <a:solidFill>
                <a:srgbClr val="8B4D80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xmlns="" id="{C9E6BFF5-6E10-41D5-8DE7-FB4C3F615DCD}"/>
                </a:ext>
              </a:extLst>
            </p:cNvPr>
            <p:cNvCxnSpPr>
              <a:cxnSpLocks/>
              <a:stCxn id="5" idx="2"/>
            </p:cNvCxnSpPr>
            <p:nvPr/>
          </p:nvCxnSpPr>
          <p:spPr>
            <a:xfrm flipH="1">
              <a:off x="10520747" y="1802096"/>
              <a:ext cx="2" cy="278359"/>
            </a:xfrm>
            <a:prstGeom prst="line">
              <a:avLst/>
            </a:prstGeom>
            <a:ln w="28575">
              <a:solidFill>
                <a:srgbClr val="8B4D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Прямоугольник 7">
              <a:hlinkClick r:id="" action="ppaction://noaction"/>
              <a:extLst>
                <a:ext uri="{FF2B5EF4-FFF2-40B4-BE49-F238E27FC236}">
                  <a16:creationId xmlns:a16="http://schemas.microsoft.com/office/drawing/2014/main" xmlns="" id="{6127FD95-3EDB-4BE5-9AF0-BD07D9E1A0B4}"/>
                </a:ext>
              </a:extLst>
            </p:cNvPr>
            <p:cNvSpPr/>
            <p:nvPr/>
          </p:nvSpPr>
          <p:spPr>
            <a:xfrm>
              <a:off x="10061459" y="-681959"/>
              <a:ext cx="11132390" cy="836952"/>
            </a:xfrm>
            <a:prstGeom prst="rect">
              <a:avLst/>
            </a:prstGeom>
            <a:solidFill>
              <a:srgbClr val="8B4D80"/>
            </a:solidFill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lIns="148957" tIns="74479" rIns="148957" bIns="74479" rtlCol="0" anchor="ctr"/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Проектная деятельность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Прямоугольник 72">
              <a:extLst>
                <a:ext uri="{FF2B5EF4-FFF2-40B4-BE49-F238E27FC236}">
                  <a16:creationId xmlns:a16="http://schemas.microsoft.com/office/drawing/2014/main" xmlns="" id="{08E1BAAE-E662-470F-BC29-181DB4F870D0}"/>
                </a:ext>
              </a:extLst>
            </p:cNvPr>
            <p:cNvSpPr/>
            <p:nvPr/>
          </p:nvSpPr>
          <p:spPr>
            <a:xfrm>
              <a:off x="3877131" y="2066805"/>
              <a:ext cx="13209490" cy="874970"/>
            </a:xfrm>
            <a:prstGeom prst="rect">
              <a:avLst/>
            </a:prstGeom>
            <a:noFill/>
            <a:ln w="28575">
              <a:solidFill>
                <a:srgbClr val="8B4D80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36736" tIns="18367" rIns="36736" bIns="18367" rtlCol="0" anchor="ctr"/>
            <a:lstStyle/>
            <a:p>
              <a:pPr algn="ctr"/>
              <a:r>
                <a:rPr lang="ru-RU" b="1" dirty="0">
                  <a:cs typeface="Arial" panose="020B0604020202020204" pitchFamily="34" charset="0"/>
                </a:rPr>
                <a:t>Администратор </a:t>
              </a:r>
              <a:r>
                <a:rPr lang="ru-RU" b="1" dirty="0" smtClean="0">
                  <a:cs typeface="Arial" panose="020B0604020202020204" pitchFamily="34" charset="0"/>
                </a:rPr>
                <a:t>ГУП</a:t>
              </a:r>
              <a:endParaRPr lang="ru-RU" b="1" dirty="0">
                <a:cs typeface="Arial" panose="020B0604020202020204" pitchFamily="34" charset="0"/>
              </a:endParaRPr>
            </a:p>
          </p:txBody>
        </p:sp>
        <p:cxnSp>
          <p:nvCxnSpPr>
            <p:cNvPr id="12" name="Прямая со стрелкой 11">
              <a:extLst>
                <a:ext uri="{FF2B5EF4-FFF2-40B4-BE49-F238E27FC236}">
                  <a16:creationId xmlns:a16="http://schemas.microsoft.com/office/drawing/2014/main" xmlns="" id="{B89B4932-EBB1-4CE9-AB8B-6241DE990A61}"/>
                </a:ext>
              </a:extLst>
            </p:cNvPr>
            <p:cNvCxnSpPr>
              <a:cxnSpLocks/>
            </p:cNvCxnSpPr>
            <p:nvPr/>
          </p:nvCxnSpPr>
          <p:spPr>
            <a:xfrm>
              <a:off x="5398410" y="3469684"/>
              <a:ext cx="0" cy="607503"/>
            </a:xfrm>
            <a:prstGeom prst="straightConnector1">
              <a:avLst/>
            </a:prstGeom>
            <a:ln>
              <a:solidFill>
                <a:srgbClr val="8B4D80"/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 стрелкой 13">
              <a:extLst>
                <a:ext uri="{FF2B5EF4-FFF2-40B4-BE49-F238E27FC236}">
                  <a16:creationId xmlns:a16="http://schemas.microsoft.com/office/drawing/2014/main" xmlns="" id="{0A7D6011-3126-4361-AF5F-4F8FC99A2F44}"/>
                </a:ext>
              </a:extLst>
            </p:cNvPr>
            <p:cNvCxnSpPr>
              <a:cxnSpLocks/>
            </p:cNvCxnSpPr>
            <p:nvPr/>
          </p:nvCxnSpPr>
          <p:spPr>
            <a:xfrm>
              <a:off x="16038960" y="3513558"/>
              <a:ext cx="0" cy="607503"/>
            </a:xfrm>
            <a:prstGeom prst="straightConnector1">
              <a:avLst/>
            </a:prstGeom>
            <a:ln>
              <a:solidFill>
                <a:srgbClr val="8B4D80"/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 стрелкой 14">
              <a:extLst>
                <a:ext uri="{FF2B5EF4-FFF2-40B4-BE49-F238E27FC236}">
                  <a16:creationId xmlns:a16="http://schemas.microsoft.com/office/drawing/2014/main" xmlns="" id="{49B98507-EA51-4F1F-B1CF-35812F67D424}"/>
                </a:ext>
              </a:extLst>
            </p:cNvPr>
            <p:cNvCxnSpPr>
              <a:cxnSpLocks/>
              <a:stCxn id="11" idx="2"/>
              <a:endCxn id="18" idx="0"/>
            </p:cNvCxnSpPr>
            <p:nvPr/>
          </p:nvCxnSpPr>
          <p:spPr>
            <a:xfrm>
              <a:off x="10481876" y="2941774"/>
              <a:ext cx="24901" cy="1135413"/>
            </a:xfrm>
            <a:prstGeom prst="straightConnector1">
              <a:avLst/>
            </a:prstGeom>
            <a:ln>
              <a:solidFill>
                <a:srgbClr val="8B4D80"/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Прямоугольник 15">
              <a:hlinkClick r:id="" action="ppaction://noaction"/>
              <a:extLst>
                <a:ext uri="{FF2B5EF4-FFF2-40B4-BE49-F238E27FC236}">
                  <a16:creationId xmlns:a16="http://schemas.microsoft.com/office/drawing/2014/main" xmlns="" id="{A67F960C-5D20-4403-A9E9-984E71BDF643}"/>
                </a:ext>
              </a:extLst>
            </p:cNvPr>
            <p:cNvSpPr/>
            <p:nvPr/>
          </p:nvSpPr>
          <p:spPr>
            <a:xfrm>
              <a:off x="3486367" y="4121062"/>
              <a:ext cx="3659313" cy="1582708"/>
            </a:xfrm>
            <a:prstGeom prst="rect">
              <a:avLst/>
            </a:prstGeom>
            <a:noFill/>
            <a:ln w="28575">
              <a:solidFill>
                <a:srgbClr val="DBBE55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91424" tIns="45712" rIns="91424" bIns="45712" rtlCol="0" anchor="ctr"/>
            <a:lstStyle/>
            <a:p>
              <a:pPr algn="ctr"/>
              <a:r>
                <a:rPr lang="ru-RU" dirty="0" smtClean="0">
                  <a:ln w="0"/>
                  <a:solidFill>
                    <a:schemeClr val="tx1"/>
                  </a:solidFill>
                  <a:cs typeface="Arial" panose="020B0604020202020204" pitchFamily="34" charset="0"/>
                </a:rPr>
                <a:t>Проект</a:t>
              </a:r>
              <a:endParaRPr lang="ru-RU" sz="1400" dirty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Прямоугольник 16">
              <a:hlinkClick r:id="" action="ppaction://noaction"/>
              <a:extLst>
                <a:ext uri="{FF2B5EF4-FFF2-40B4-BE49-F238E27FC236}">
                  <a16:creationId xmlns:a16="http://schemas.microsoft.com/office/drawing/2014/main" xmlns="" id="{9729118E-9D61-41AB-8925-EEE61BD63F7F}"/>
                </a:ext>
              </a:extLst>
            </p:cNvPr>
            <p:cNvSpPr/>
            <p:nvPr/>
          </p:nvSpPr>
          <p:spPr>
            <a:xfrm>
              <a:off x="13965994" y="4081321"/>
              <a:ext cx="4145933" cy="1614652"/>
            </a:xfrm>
            <a:prstGeom prst="rect">
              <a:avLst/>
            </a:prstGeom>
            <a:noFill/>
            <a:ln w="28575">
              <a:solidFill>
                <a:srgbClr val="DBBE55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24" tIns="45712" rIns="91424" bIns="45712" rtlCol="0" anchor="ctr"/>
            <a:lstStyle/>
            <a:p>
              <a:pPr algn="ctr"/>
              <a:r>
                <a:rPr lang="ru-RU" sz="2000" dirty="0">
                  <a:ln w="0"/>
                  <a:solidFill>
                    <a:schemeClr val="tx1"/>
                  </a:solidFill>
                  <a:cs typeface="Arial" panose="020B0604020202020204" pitchFamily="34" charset="0"/>
                </a:rPr>
                <a:t>Проект</a:t>
              </a:r>
            </a:p>
          </p:txBody>
        </p:sp>
        <p:sp>
          <p:nvSpPr>
            <p:cNvPr id="18" name="Прямоугольник 17">
              <a:hlinkClick r:id="" action="ppaction://noaction"/>
              <a:extLst>
                <a:ext uri="{FF2B5EF4-FFF2-40B4-BE49-F238E27FC236}">
                  <a16:creationId xmlns:a16="http://schemas.microsoft.com/office/drawing/2014/main" xmlns="" id="{0C06DA6B-1CD2-4CCB-B1AB-60FFBBA77FBE}"/>
                </a:ext>
              </a:extLst>
            </p:cNvPr>
            <p:cNvSpPr/>
            <p:nvPr/>
          </p:nvSpPr>
          <p:spPr>
            <a:xfrm>
              <a:off x="8535832" y="4077187"/>
              <a:ext cx="3941891" cy="1618784"/>
            </a:xfrm>
            <a:prstGeom prst="rect">
              <a:avLst/>
            </a:prstGeom>
            <a:noFill/>
            <a:ln w="28575">
              <a:solidFill>
                <a:srgbClr val="DBBE55"/>
              </a:solidFill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91424" tIns="45712" rIns="91424" bIns="45712" rtlCol="0" anchor="ctr"/>
            <a:lstStyle/>
            <a:p>
              <a:pPr algn="ctr"/>
              <a:r>
                <a:rPr lang="ru-RU" dirty="0">
                  <a:ln w="0"/>
                  <a:solidFill>
                    <a:schemeClr val="tx1"/>
                  </a:solidFill>
                  <a:cs typeface="Arial" panose="020B0604020202020204" pitchFamily="34" charset="0"/>
                </a:rPr>
                <a:t>Проект</a:t>
              </a:r>
            </a:p>
          </p:txBody>
        </p:sp>
        <p:sp>
          <p:nvSpPr>
            <p:cNvPr id="21" name="Скругленный прямоугольник 155">
              <a:extLst>
                <a:ext uri="{FF2B5EF4-FFF2-40B4-BE49-F238E27FC236}">
                  <a16:creationId xmlns:a16="http://schemas.microsoft.com/office/drawing/2014/main" xmlns="" id="{7F79B809-366A-4D98-8189-A8E848A7E261}"/>
                </a:ext>
              </a:extLst>
            </p:cNvPr>
            <p:cNvSpPr/>
            <p:nvPr/>
          </p:nvSpPr>
          <p:spPr>
            <a:xfrm>
              <a:off x="3486365" y="6010738"/>
              <a:ext cx="4067878" cy="5234734"/>
            </a:xfrm>
            <a:prstGeom prst="roundRect">
              <a:avLst/>
            </a:prstGeom>
            <a:noFill/>
            <a:ln w="28575">
              <a:solidFill>
                <a:srgbClr val="DBBE55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kk-KZ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Руководитель </a:t>
              </a:r>
              <a:r>
                <a:rPr lang="kk-KZ" dirty="0">
                  <a:solidFill>
                    <a:schemeClr val="tx1"/>
                  </a:solidFill>
                  <a:cs typeface="Arial" panose="020B0604020202020204" pitchFamily="34" charset="0"/>
                </a:rPr>
                <a:t>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dirty="0">
                  <a:solidFill>
                    <a:schemeClr val="tx1"/>
                  </a:solidFill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dirty="0">
                  <a:solidFill>
                    <a:schemeClr val="tx1"/>
                  </a:solidFill>
                  <a:cs typeface="Arial" panose="020B0604020202020204" pitchFamily="34" charset="0"/>
                </a:rPr>
                <a:t>Участники</a:t>
              </a:r>
              <a:endParaRPr lang="ru-RU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8" name="Прямая со стрелкой 27">
              <a:extLst>
                <a:ext uri="{FF2B5EF4-FFF2-40B4-BE49-F238E27FC236}">
                  <a16:creationId xmlns:a16="http://schemas.microsoft.com/office/drawing/2014/main" xmlns="" id="{56B55089-2106-498B-BA43-7E08C1010843}"/>
                </a:ext>
              </a:extLst>
            </p:cNvPr>
            <p:cNvCxnSpPr>
              <a:cxnSpLocks/>
            </p:cNvCxnSpPr>
            <p:nvPr/>
          </p:nvCxnSpPr>
          <p:spPr>
            <a:xfrm>
              <a:off x="5398410" y="5706985"/>
              <a:ext cx="0" cy="303752"/>
            </a:xfrm>
            <a:prstGeom prst="straightConnector1">
              <a:avLst/>
            </a:prstGeom>
            <a:ln>
              <a:solidFill>
                <a:srgbClr val="8B4D80"/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Прямоугольный треугольник 37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ый треугольник 39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155">
            <a:extLst>
              <a:ext uri="{FF2B5EF4-FFF2-40B4-BE49-F238E27FC236}">
                <a16:creationId xmlns:a16="http://schemas.microsoft.com/office/drawing/2014/main" xmlns="" id="{7F79B809-366A-4D98-8189-A8E848A7E261}"/>
              </a:ext>
            </a:extLst>
          </p:cNvPr>
          <p:cNvSpPr/>
          <p:nvPr/>
        </p:nvSpPr>
        <p:spPr>
          <a:xfrm>
            <a:off x="4827657" y="3774924"/>
            <a:ext cx="2307645" cy="2906706"/>
          </a:xfrm>
          <a:prstGeom prst="roundRect">
            <a:avLst/>
          </a:prstGeom>
          <a:noFill/>
          <a:ln w="28575">
            <a:solidFill>
              <a:srgbClr val="DBBE55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kk-KZ" dirty="0" smtClean="0">
                <a:solidFill>
                  <a:schemeClr val="tx1"/>
                </a:solidFill>
                <a:cs typeface="Arial" panose="020B0604020202020204" pitchFamily="34" charset="0"/>
              </a:rPr>
              <a:t>Руководитель </a:t>
            </a:r>
            <a:r>
              <a:rPr lang="kk-KZ" dirty="0">
                <a:solidFill>
                  <a:schemeClr val="tx1"/>
                </a:solidFill>
                <a:cs typeface="Arial" panose="020B0604020202020204" pitchFamily="34" charset="0"/>
              </a:rPr>
              <a:t>проекта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kk-KZ" dirty="0">
                <a:solidFill>
                  <a:schemeClr val="tx1"/>
                </a:solidFill>
                <a:cs typeface="Arial" panose="020B0604020202020204" pitchFamily="34" charset="0"/>
              </a:rPr>
              <a:t>Администратор проекта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kk-KZ" dirty="0">
                <a:solidFill>
                  <a:schemeClr val="tx1"/>
                </a:solidFill>
                <a:cs typeface="Arial" panose="020B0604020202020204" pitchFamily="34" charset="0"/>
              </a:rPr>
              <a:t>Участники</a:t>
            </a:r>
            <a:endParaRPr lang="ru-RU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xmlns="" id="{56B55089-2106-498B-BA43-7E08C1010843}"/>
              </a:ext>
            </a:extLst>
          </p:cNvPr>
          <p:cNvCxnSpPr>
            <a:cxnSpLocks/>
          </p:cNvCxnSpPr>
          <p:nvPr/>
        </p:nvCxnSpPr>
        <p:spPr>
          <a:xfrm>
            <a:off x="5912331" y="3606258"/>
            <a:ext cx="0" cy="168665"/>
          </a:xfrm>
          <a:prstGeom prst="straightConnector1">
            <a:avLst/>
          </a:prstGeom>
          <a:ln>
            <a:solidFill>
              <a:srgbClr val="8B4D8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7" name="Скругленный прямоугольник 155">
            <a:extLst>
              <a:ext uri="{FF2B5EF4-FFF2-40B4-BE49-F238E27FC236}">
                <a16:creationId xmlns:a16="http://schemas.microsoft.com/office/drawing/2014/main" xmlns="" id="{7F79B809-366A-4D98-8189-A8E848A7E261}"/>
              </a:ext>
            </a:extLst>
          </p:cNvPr>
          <p:cNvSpPr/>
          <p:nvPr/>
        </p:nvSpPr>
        <p:spPr>
          <a:xfrm>
            <a:off x="7985274" y="3776777"/>
            <a:ext cx="2307645" cy="2906706"/>
          </a:xfrm>
          <a:prstGeom prst="roundRect">
            <a:avLst/>
          </a:prstGeom>
          <a:noFill/>
          <a:ln w="28575">
            <a:solidFill>
              <a:srgbClr val="DBBE55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kk-KZ" dirty="0" smtClean="0">
                <a:solidFill>
                  <a:schemeClr val="tx1"/>
                </a:solidFill>
                <a:cs typeface="Arial" panose="020B0604020202020204" pitchFamily="34" charset="0"/>
              </a:rPr>
              <a:t>Руководитель </a:t>
            </a:r>
            <a:r>
              <a:rPr lang="kk-KZ" dirty="0">
                <a:solidFill>
                  <a:schemeClr val="tx1"/>
                </a:solidFill>
                <a:cs typeface="Arial" panose="020B0604020202020204" pitchFamily="34" charset="0"/>
              </a:rPr>
              <a:t>проекта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kk-KZ" dirty="0">
                <a:solidFill>
                  <a:schemeClr val="tx1"/>
                </a:solidFill>
                <a:cs typeface="Arial" panose="020B0604020202020204" pitchFamily="34" charset="0"/>
              </a:rPr>
              <a:t>Администратор проекта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kk-KZ" dirty="0">
                <a:solidFill>
                  <a:schemeClr val="tx1"/>
                </a:solidFill>
                <a:cs typeface="Arial" panose="020B0604020202020204" pitchFamily="34" charset="0"/>
              </a:rPr>
              <a:t>Участники</a:t>
            </a:r>
            <a:endParaRPr lang="ru-RU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cxnSp>
        <p:nvCxnSpPr>
          <p:cNvPr id="48" name="Прямая со стрелкой 47">
            <a:extLst>
              <a:ext uri="{FF2B5EF4-FFF2-40B4-BE49-F238E27FC236}">
                <a16:creationId xmlns:a16="http://schemas.microsoft.com/office/drawing/2014/main" xmlns="" id="{56B55089-2106-498B-BA43-7E08C1010843}"/>
              </a:ext>
            </a:extLst>
          </p:cNvPr>
          <p:cNvCxnSpPr>
            <a:cxnSpLocks/>
          </p:cNvCxnSpPr>
          <p:nvPr/>
        </p:nvCxnSpPr>
        <p:spPr>
          <a:xfrm>
            <a:off x="9069948" y="3608111"/>
            <a:ext cx="0" cy="168665"/>
          </a:xfrm>
          <a:prstGeom prst="straightConnector1">
            <a:avLst/>
          </a:prstGeom>
          <a:ln>
            <a:solidFill>
              <a:srgbClr val="8B4D8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032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6"/>
          <p:cNvSpPr txBox="1">
            <a:spLocks/>
          </p:cNvSpPr>
          <p:nvPr/>
        </p:nvSpPr>
        <p:spPr>
          <a:xfrm>
            <a:off x="3540226" y="104939"/>
            <a:ext cx="7886700" cy="6518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b="1" dirty="0" smtClean="0">
                <a:latin typeface="+mn-lt"/>
              </a:rPr>
              <a:t>Этапы проекта</a:t>
            </a:r>
            <a:endParaRPr lang="en-US" b="1" dirty="0">
              <a:latin typeface="+mn-lt"/>
            </a:endParaRPr>
          </a:p>
        </p:txBody>
      </p:sp>
      <p:sp>
        <p:nvSpPr>
          <p:cNvPr id="4" name="Прямоугольный треугольник 3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ый треугольник 4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411269365"/>
              </p:ext>
            </p:extLst>
          </p:nvPr>
        </p:nvGraphicFramePr>
        <p:xfrm>
          <a:off x="1233215" y="1263434"/>
          <a:ext cx="9998402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757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6"/>
          <p:cNvSpPr txBox="1">
            <a:spLocks/>
          </p:cNvSpPr>
          <p:nvPr/>
        </p:nvSpPr>
        <p:spPr>
          <a:xfrm>
            <a:off x="3467099" y="297095"/>
            <a:ext cx="8597653" cy="6518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b="1" dirty="0">
                <a:latin typeface="+mn-lt"/>
              </a:rPr>
              <a:t>Этапы проекта «</a:t>
            </a:r>
            <a:r>
              <a:rPr lang="ru-RU" sz="2200" b="1" dirty="0" smtClean="0">
                <a:latin typeface="+mn-lt"/>
              </a:rPr>
              <a:t>Институциональные исследования </a:t>
            </a:r>
          </a:p>
          <a:p>
            <a:pPr algn="ctr"/>
            <a:r>
              <a:rPr lang="ru-RU" sz="2200" b="1" dirty="0" smtClean="0">
                <a:latin typeface="+mn-lt"/>
              </a:rPr>
              <a:t>по </a:t>
            </a:r>
            <a:r>
              <a:rPr lang="ru-RU" sz="2200" b="1" dirty="0">
                <a:latin typeface="+mn-lt"/>
              </a:rPr>
              <a:t>обеспечению качества экономического образования</a:t>
            </a:r>
            <a:r>
              <a:rPr lang="ru-RU" sz="2200" b="1" dirty="0" smtClean="0">
                <a:latin typeface="+mn-lt"/>
              </a:rPr>
              <a:t>» - </a:t>
            </a:r>
            <a:r>
              <a:rPr lang="ru-RU" sz="2200" b="1" i="1" dirty="0" smtClean="0">
                <a:latin typeface="+mn-lt"/>
              </a:rPr>
              <a:t>пример</a:t>
            </a:r>
            <a:endParaRPr lang="en-US" sz="2200" b="1" i="1" dirty="0">
              <a:latin typeface="+mn-lt"/>
            </a:endParaRPr>
          </a:p>
        </p:txBody>
      </p:sp>
      <p:sp>
        <p:nvSpPr>
          <p:cNvPr id="4" name="Прямоугольный треугольник 3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ый треугольник 4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8" name="Объект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7287913"/>
              </p:ext>
            </p:extLst>
          </p:nvPr>
        </p:nvGraphicFramePr>
        <p:xfrm>
          <a:off x="245659" y="1132764"/>
          <a:ext cx="11682483" cy="55273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53534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228614" y="756880"/>
            <a:ext cx="6630496" cy="5964710"/>
          </a:xfrm>
          <a:prstGeom prst="rect">
            <a:avLst/>
          </a:prstGeom>
          <a:noFill/>
          <a:ln w="9525">
            <a:solidFill>
              <a:srgbClr val="8B4D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onsolas" pitchFamily="49" charset="0"/>
                <a:cs typeface="Times New Roman" pitchFamily="18" charset="0"/>
              </a:rPr>
              <a:t>ФОРМА Устава проекта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imes New Roman" pitchFamily="18" charset="0"/>
              <a:cs typeface="Arial" pitchFamily="34" charset="0"/>
            </a:endParaRPr>
          </a:p>
          <a:p>
            <a:pPr marL="3420745" indent="-3277870" algn="r">
              <a:lnSpc>
                <a:spcPct val="115000"/>
              </a:lnSpc>
            </a:pPr>
            <a:r>
              <a:rPr lang="ru-RU" dirty="0"/>
              <a:t> «УТВЕРЖДЕНО» </a:t>
            </a:r>
          </a:p>
          <a:p>
            <a:pPr marL="3420745" indent="-3277870" algn="r">
              <a:lnSpc>
                <a:spcPct val="115000"/>
              </a:lnSpc>
            </a:pPr>
            <a:r>
              <a:rPr lang="ru-RU" dirty="0"/>
              <a:t>                                   Руководитель </a:t>
            </a:r>
            <a:r>
              <a:rPr lang="ru-RU" dirty="0" smtClean="0"/>
              <a:t>ГУП</a:t>
            </a:r>
            <a:endParaRPr lang="ru-RU" dirty="0"/>
          </a:p>
          <a:p>
            <a:pPr marL="3420745" indent="-3277870" algn="r">
              <a:lnSpc>
                <a:spcPct val="115000"/>
              </a:lnSpc>
            </a:pPr>
            <a:r>
              <a:rPr lang="ru-RU" dirty="0"/>
              <a:t>                                   </a:t>
            </a:r>
            <a:r>
              <a:rPr lang="ru-RU" dirty="0" smtClean="0"/>
              <a:t>ФИО</a:t>
            </a:r>
            <a:endParaRPr lang="ru-RU" dirty="0"/>
          </a:p>
          <a:p>
            <a:pPr marL="3420745" indent="-3277870" algn="r">
              <a:lnSpc>
                <a:spcPct val="115000"/>
              </a:lnSpc>
            </a:pPr>
            <a:r>
              <a:rPr lang="ru-RU" dirty="0"/>
              <a:t>                                    от «___» _________ 2019 г</a:t>
            </a:r>
            <a:r>
              <a:rPr lang="ru-RU" dirty="0" smtClean="0"/>
              <a:t>.</a:t>
            </a:r>
          </a:p>
          <a:p>
            <a:pPr marL="3420745" indent="-3277870">
              <a:lnSpc>
                <a:spcPct val="115000"/>
              </a:lnSpc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imes New Roman" pitchFamily="18" charset="0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itchFamily="18" charset="0"/>
                <a:cs typeface="Arial" pitchFamily="34" charset="0"/>
              </a:rPr>
              <a:t>УСТАВ ПРОЕКТА </a:t>
            </a:r>
            <a:endParaRPr kumimoji="0" lang="ru-RU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itchFamily="18" charset="0"/>
                <a:cs typeface="Arial" pitchFamily="34" charset="0"/>
              </a:rPr>
              <a:t>«Наименование проекта»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imes New Roman" pitchFamily="18" charset="0"/>
              <a:cs typeface="Arial" pitchFamily="34" charset="0"/>
            </a:endParaRPr>
          </a:p>
          <a:p>
            <a:pPr algn="r">
              <a:lnSpc>
                <a:spcPct val="115000"/>
              </a:lnSpc>
            </a:pPr>
            <a:r>
              <a:rPr lang="ru-RU" dirty="0" smtClean="0"/>
              <a:t>_________________           Администратор ГУП </a:t>
            </a:r>
          </a:p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ru-RU" dirty="0" smtClean="0"/>
              <a:t>ФИО</a:t>
            </a:r>
          </a:p>
          <a:p>
            <a:pPr algn="r">
              <a:lnSpc>
                <a:spcPct val="115000"/>
              </a:lnSpc>
            </a:pPr>
            <a:r>
              <a:rPr lang="ru-RU" dirty="0" smtClean="0"/>
              <a:t>_________________         Руководитель Проекта</a:t>
            </a:r>
            <a:endParaRPr lang="ru-RU" dirty="0"/>
          </a:p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ru-RU" dirty="0"/>
              <a:t>ФИО</a:t>
            </a:r>
          </a:p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ru-RU" dirty="0" smtClean="0"/>
              <a:t>________________</a:t>
            </a:r>
            <a:r>
              <a:rPr lang="ru-RU" dirty="0"/>
              <a:t>  </a:t>
            </a:r>
            <a:r>
              <a:rPr lang="ru-RU" dirty="0" smtClean="0"/>
              <a:t>Главный </a:t>
            </a:r>
            <a:r>
              <a:rPr lang="ru-RU" dirty="0"/>
              <a:t>менеджер </a:t>
            </a:r>
            <a:r>
              <a:rPr lang="ru-RU" dirty="0" smtClean="0"/>
              <a:t>Проекта</a:t>
            </a:r>
            <a:endParaRPr lang="ru-RU" dirty="0"/>
          </a:p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ru-RU" dirty="0" smtClean="0"/>
              <a:t>ФИО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dirty="0" smtClean="0"/>
              <a:t>Дата </a:t>
            </a:r>
            <a:r>
              <a:rPr lang="ru-RU" dirty="0"/>
              <a:t>изменения: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dirty="0"/>
              <a:t> 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dirty="0"/>
              <a:t>№ 1 «___»___20 ___ г.   ________ 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dirty="0"/>
              <a:t>№ 2 «___»___20 ___ г.   </a:t>
            </a:r>
            <a:r>
              <a:rPr lang="ru-RU" dirty="0" smtClean="0"/>
              <a:t>________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ый треугольник 4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ый треугольник 5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8694683" y="497710"/>
            <a:ext cx="3074276" cy="1204966"/>
          </a:xfrm>
          <a:prstGeom prst="rect">
            <a:avLst/>
          </a:prstGeom>
          <a:noFill/>
          <a:ln w="28575">
            <a:solidFill>
              <a:srgbClr val="8B4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2000" b="1" dirty="0" smtClean="0">
                <a:solidFill>
                  <a:schemeClr val="tx1"/>
                </a:solidFill>
              </a:rPr>
              <a:t>Краткая информация о проекте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694683" y="2021710"/>
            <a:ext cx="3074276" cy="1204966"/>
          </a:xfrm>
          <a:prstGeom prst="rect">
            <a:avLst/>
          </a:prstGeom>
          <a:noFill/>
          <a:ln w="28575">
            <a:solidFill>
              <a:srgbClr val="8B4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 smtClean="0">
                <a:solidFill>
                  <a:schemeClr val="tx1"/>
                </a:solidFill>
              </a:rPr>
              <a:t>Описание проекта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694683" y="3467829"/>
            <a:ext cx="3074276" cy="1204966"/>
          </a:xfrm>
          <a:prstGeom prst="rect">
            <a:avLst/>
          </a:prstGeom>
          <a:noFill/>
          <a:ln w="28575">
            <a:solidFill>
              <a:srgbClr val="8B4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 smtClean="0">
                <a:solidFill>
                  <a:schemeClr val="tx1"/>
                </a:solidFill>
              </a:rPr>
              <a:t>Риски проекта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694683" y="4954096"/>
            <a:ext cx="3074276" cy="1204966"/>
          </a:xfrm>
          <a:prstGeom prst="rect">
            <a:avLst/>
          </a:prstGeom>
          <a:noFill/>
          <a:ln w="28575">
            <a:solidFill>
              <a:srgbClr val="8B4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 err="1" smtClean="0">
                <a:solidFill>
                  <a:schemeClr val="tx1"/>
                </a:solidFill>
              </a:rPr>
              <a:t>Стейкхолдеры</a:t>
            </a:r>
            <a:r>
              <a:rPr lang="ru-RU" sz="2000" b="1" dirty="0" smtClean="0">
                <a:solidFill>
                  <a:schemeClr val="tx1"/>
                </a:solidFill>
              </a:rPr>
              <a:t> проекта</a:t>
            </a:r>
            <a:endParaRPr lang="ru-RU" sz="2000" dirty="0">
              <a:solidFill>
                <a:schemeClr val="tx1"/>
              </a:solidFill>
            </a:endParaRPr>
          </a:p>
        </p:txBody>
      </p:sp>
      <p:cxnSp>
        <p:nvCxnSpPr>
          <p:cNvPr id="15" name="Прямая со стрелкой 14"/>
          <p:cNvCxnSpPr>
            <a:stCxn id="4" idx="3"/>
            <a:endCxn id="8" idx="1"/>
          </p:cNvCxnSpPr>
          <p:nvPr/>
        </p:nvCxnSpPr>
        <p:spPr>
          <a:xfrm flipV="1">
            <a:off x="7859110" y="1100193"/>
            <a:ext cx="835573" cy="2639042"/>
          </a:xfrm>
          <a:prstGeom prst="straightConnector1">
            <a:avLst/>
          </a:prstGeom>
          <a:ln>
            <a:solidFill>
              <a:srgbClr val="8B4D8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4" idx="3"/>
            <a:endCxn id="9" idx="1"/>
          </p:cNvCxnSpPr>
          <p:nvPr/>
        </p:nvCxnSpPr>
        <p:spPr>
          <a:xfrm flipV="1">
            <a:off x="7859110" y="2624193"/>
            <a:ext cx="835573" cy="1115042"/>
          </a:xfrm>
          <a:prstGeom prst="straightConnector1">
            <a:avLst/>
          </a:prstGeom>
          <a:ln>
            <a:solidFill>
              <a:srgbClr val="8B4D8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4" idx="3"/>
            <a:endCxn id="10" idx="1"/>
          </p:cNvCxnSpPr>
          <p:nvPr/>
        </p:nvCxnSpPr>
        <p:spPr>
          <a:xfrm>
            <a:off x="7859110" y="3739235"/>
            <a:ext cx="835573" cy="331077"/>
          </a:xfrm>
          <a:prstGeom prst="straightConnector1">
            <a:avLst/>
          </a:prstGeom>
          <a:ln>
            <a:solidFill>
              <a:srgbClr val="8B4D8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stCxn id="4" idx="3"/>
            <a:endCxn id="11" idx="1"/>
          </p:cNvCxnSpPr>
          <p:nvPr/>
        </p:nvCxnSpPr>
        <p:spPr>
          <a:xfrm>
            <a:off x="7859110" y="3739235"/>
            <a:ext cx="835573" cy="1817344"/>
          </a:xfrm>
          <a:prstGeom prst="straightConnector1">
            <a:avLst/>
          </a:prstGeom>
          <a:ln>
            <a:solidFill>
              <a:srgbClr val="8B4D8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403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792961" y="490453"/>
            <a:ext cx="10515600" cy="66278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b="1" dirty="0" smtClean="0">
                <a:latin typeface="+mn-lt"/>
              </a:rPr>
              <a:t>Краткая информация о проекте</a:t>
            </a:r>
            <a:endParaRPr lang="ru-RU" sz="1800" b="1" dirty="0">
              <a:latin typeface="+mn-lt"/>
            </a:endParaRPr>
          </a:p>
        </p:txBody>
      </p:sp>
      <p:sp>
        <p:nvSpPr>
          <p:cNvPr id="4" name="Прямоугольный треугольник 3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ый треугольник 4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7110712"/>
              </p:ext>
            </p:extLst>
          </p:nvPr>
        </p:nvGraphicFramePr>
        <p:xfrm>
          <a:off x="300231" y="827055"/>
          <a:ext cx="11573321" cy="26531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4915">
                  <a:extLst>
                    <a:ext uri="{9D8B030D-6E8A-4147-A177-3AD203B41FA5}">
                      <a16:colId xmlns:a16="http://schemas.microsoft.com/office/drawing/2014/main" xmlns="" val="2507430861"/>
                    </a:ext>
                  </a:extLst>
                </a:gridCol>
                <a:gridCol w="7888406">
                  <a:extLst>
                    <a:ext uri="{9D8B030D-6E8A-4147-A177-3AD203B41FA5}">
                      <a16:colId xmlns:a16="http://schemas.microsoft.com/office/drawing/2014/main" xmlns="" val="3092264527"/>
                    </a:ext>
                  </a:extLst>
                </a:gridCol>
              </a:tblGrid>
              <a:tr h="326302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+mn-lt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45140795"/>
                  </a:ext>
                </a:extLst>
              </a:tr>
              <a:tr h="289333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Цель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59237321"/>
                  </a:ext>
                </a:extLst>
              </a:tr>
              <a:tr h="824325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Требования к результатам проекта</a:t>
                      </a:r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:</a:t>
                      </a:r>
                      <a:endParaRPr lang="ru-RU" sz="1600" b="1" dirty="0" smtClean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Критерии качества проекта</a:t>
                      </a:r>
                    </a:p>
                    <a:p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Индикаторы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80217292"/>
                  </a:ext>
                </a:extLst>
              </a:tr>
              <a:tr h="313898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Сроки реализации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85548138"/>
                  </a:ext>
                </a:extLst>
              </a:tr>
              <a:tr h="262037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Заказчик 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23896472"/>
                  </a:ext>
                </a:extLst>
              </a:tr>
              <a:tr h="278414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Пользователь (</a:t>
                      </a:r>
                      <a:r>
                        <a:rPr lang="ru-RU" sz="1600" b="1" dirty="0" err="1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выгодополучатель</a:t>
                      </a:r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09905167"/>
                  </a:ext>
                </a:extLst>
              </a:tr>
            </a:tbl>
          </a:graphicData>
        </a:graphic>
      </p:graphicFrame>
      <p:sp>
        <p:nvSpPr>
          <p:cNvPr id="7" name="Прямоугольник 6">
            <a:hlinkClick r:id="" action="ppaction://noaction"/>
            <a:extLst>
              <a:ext uri="{FF2B5EF4-FFF2-40B4-BE49-F238E27FC236}">
                <a16:creationId xmlns:a16="http://schemas.microsoft.com/office/drawing/2014/main" xmlns="" id="{6127FD95-3EDB-4BE5-9AF0-BD07D9E1A0B4}"/>
              </a:ext>
            </a:extLst>
          </p:cNvPr>
          <p:cNvSpPr/>
          <p:nvPr/>
        </p:nvSpPr>
        <p:spPr>
          <a:xfrm>
            <a:off x="7779223" y="32974"/>
            <a:ext cx="4215005" cy="457480"/>
          </a:xfrm>
          <a:prstGeom prst="rect">
            <a:avLst/>
          </a:prstGeom>
          <a:solidFill>
            <a:srgbClr val="8B4D8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48957" tIns="74479" rIns="148957" bIns="74479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Пример Устава проекта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792961" y="3518543"/>
            <a:ext cx="10515600" cy="33139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b="1" dirty="0" smtClean="0">
                <a:latin typeface="+mn-lt"/>
              </a:rPr>
              <a:t>Описание проекта</a:t>
            </a:r>
            <a:endParaRPr lang="ru-RU" sz="1800" b="1" dirty="0">
              <a:latin typeface="+mn-lt"/>
            </a:endParaRPr>
          </a:p>
        </p:txBody>
      </p:sp>
      <p:graphicFrame>
        <p:nvGraphicFramePr>
          <p:cNvPr id="9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1786878"/>
              </p:ext>
            </p:extLst>
          </p:nvPr>
        </p:nvGraphicFramePr>
        <p:xfrm>
          <a:off x="274915" y="3849934"/>
          <a:ext cx="11571342" cy="696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71342">
                  <a:extLst>
                    <a:ext uri="{9D8B030D-6E8A-4147-A177-3AD203B41FA5}">
                      <a16:colId xmlns:a16="http://schemas.microsoft.com/office/drawing/2014/main" xmlns="" val="4200891500"/>
                    </a:ext>
                  </a:extLst>
                </a:gridCol>
              </a:tblGrid>
              <a:tr h="33349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Актуальность и решаемые проблемы</a:t>
                      </a:r>
                      <a:endParaRPr lang="ru-RU" sz="1600" dirty="0"/>
                    </a:p>
                  </a:txBody>
                  <a:tcPr>
                    <a:solidFill>
                      <a:srgbClr val="8B4D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8290232"/>
                  </a:ext>
                </a:extLst>
              </a:tr>
              <a:tr h="361280">
                <a:tc>
                  <a:txBody>
                    <a:bodyPr/>
                    <a:lstStyle/>
                    <a:p>
                      <a:pPr algn="just"/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53085244"/>
                  </a:ext>
                </a:extLst>
              </a:tr>
            </a:tbl>
          </a:graphicData>
        </a:graphic>
      </p:graphicFrame>
      <p:sp>
        <p:nvSpPr>
          <p:cNvPr id="10" name="Заголовок 1"/>
          <p:cNvSpPr txBox="1">
            <a:spLocks/>
          </p:cNvSpPr>
          <p:nvPr/>
        </p:nvSpPr>
        <p:spPr>
          <a:xfrm>
            <a:off x="792961" y="4575295"/>
            <a:ext cx="10515600" cy="4669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b="1" dirty="0" smtClean="0">
                <a:latin typeface="+mn-lt"/>
              </a:rPr>
              <a:t>Риски проекта</a:t>
            </a:r>
            <a:endParaRPr lang="ru-RU" sz="1800" b="1" dirty="0">
              <a:latin typeface="+mn-lt"/>
            </a:endParaRPr>
          </a:p>
        </p:txBody>
      </p:sp>
      <p:graphicFrame>
        <p:nvGraphicFramePr>
          <p:cNvPr id="11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7331877"/>
              </p:ext>
            </p:extLst>
          </p:nvPr>
        </p:nvGraphicFramePr>
        <p:xfrm>
          <a:off x="279210" y="4963329"/>
          <a:ext cx="11594341" cy="706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29010">
                  <a:extLst>
                    <a:ext uri="{9D8B030D-6E8A-4147-A177-3AD203B41FA5}">
                      <a16:colId xmlns:a16="http://schemas.microsoft.com/office/drawing/2014/main" xmlns="" val="293384734"/>
                    </a:ext>
                  </a:extLst>
                </a:gridCol>
                <a:gridCol w="8365331">
                  <a:extLst>
                    <a:ext uri="{9D8B030D-6E8A-4147-A177-3AD203B41FA5}">
                      <a16:colId xmlns:a16="http://schemas.microsoft.com/office/drawing/2014/main" xmlns="" val="1093719563"/>
                    </a:ext>
                  </a:extLst>
                </a:gridCol>
              </a:tblGrid>
              <a:tr h="291058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Виды рисков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Риски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334019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4245813584"/>
                  </a:ext>
                </a:extLst>
              </a:tr>
            </a:tbl>
          </a:graphicData>
        </a:graphic>
      </p:graphicFrame>
      <p:sp>
        <p:nvSpPr>
          <p:cNvPr id="12" name="Заголовок 1"/>
          <p:cNvSpPr txBox="1">
            <a:spLocks/>
          </p:cNvSpPr>
          <p:nvPr/>
        </p:nvSpPr>
        <p:spPr>
          <a:xfrm>
            <a:off x="674427" y="5705688"/>
            <a:ext cx="10515600" cy="93394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b="1" dirty="0" err="1" smtClean="0">
                <a:latin typeface="+mn-lt"/>
              </a:rPr>
              <a:t>Стейкхолдеры</a:t>
            </a:r>
            <a:r>
              <a:rPr lang="ru-RU" sz="1800" b="1" dirty="0" smtClean="0">
                <a:latin typeface="+mn-lt"/>
              </a:rPr>
              <a:t> проекта</a:t>
            </a:r>
            <a:endParaRPr lang="ru-RU" sz="1800" b="1" dirty="0">
              <a:latin typeface="+mn-lt"/>
            </a:endParaRPr>
          </a:p>
        </p:txBody>
      </p:sp>
      <p:graphicFrame>
        <p:nvGraphicFramePr>
          <p:cNvPr id="13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7498382"/>
              </p:ext>
            </p:extLst>
          </p:nvPr>
        </p:nvGraphicFramePr>
        <p:xfrm>
          <a:off x="278641" y="6097966"/>
          <a:ext cx="11553967" cy="68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5186">
                  <a:extLst>
                    <a:ext uri="{9D8B030D-6E8A-4147-A177-3AD203B41FA5}">
                      <a16:colId xmlns:a16="http://schemas.microsoft.com/office/drawing/2014/main" xmlns="" val="427054332"/>
                    </a:ext>
                  </a:extLst>
                </a:gridCol>
                <a:gridCol w="8338781">
                  <a:extLst>
                    <a:ext uri="{9D8B030D-6E8A-4147-A177-3AD203B41FA5}">
                      <a16:colId xmlns:a16="http://schemas.microsoft.com/office/drawing/2014/main" xmlns="" val="125993988"/>
                    </a:ext>
                  </a:extLst>
                </a:gridCol>
              </a:tblGrid>
              <a:tr h="333181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err="1" smtClean="0">
                          <a:latin typeface="+mn-lt"/>
                          <a:cs typeface="Arial" panose="020B0604020202020204" pitchFamily="34" charset="0"/>
                        </a:rPr>
                        <a:t>Стейкхолдеры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Краткое описание взаимодействия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8B4D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76110574"/>
                  </a:ext>
                </a:extLst>
              </a:tr>
              <a:tr h="29815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8430133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30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ый треугольник 1"/>
          <p:cNvSpPr/>
          <p:nvPr/>
        </p:nvSpPr>
        <p:spPr>
          <a:xfrm flipV="1">
            <a:off x="1" y="-2"/>
            <a:ext cx="5297214" cy="1513492"/>
          </a:xfrm>
          <a:prstGeom prst="rtTriangle">
            <a:avLst/>
          </a:prstGeom>
          <a:solidFill>
            <a:srgbClr val="8B4D80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 flipV="1">
            <a:off x="0" y="-2"/>
            <a:ext cx="3344917" cy="1387368"/>
          </a:xfrm>
          <a:prstGeom prst="rtTriangle">
            <a:avLst/>
          </a:prstGeom>
          <a:solidFill>
            <a:srgbClr val="DBBE55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2997473" y="61476"/>
            <a:ext cx="8915886" cy="93394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 smtClean="0">
                <a:latin typeface="+mn-lt"/>
              </a:rPr>
              <a:t>План по реализации проекта</a:t>
            </a:r>
          </a:p>
          <a:p>
            <a:pPr algn="ctr"/>
            <a:r>
              <a:rPr lang="ru-RU" sz="3200" b="1" dirty="0" smtClean="0">
                <a:latin typeface="+mn-lt"/>
              </a:rPr>
              <a:t> в виде диаграммы </a:t>
            </a:r>
            <a:r>
              <a:rPr lang="ru-RU" sz="3200" b="1" dirty="0" err="1" smtClean="0">
                <a:latin typeface="+mn-lt"/>
              </a:rPr>
              <a:t>Ганта</a:t>
            </a:r>
            <a:r>
              <a:rPr lang="ru-RU" sz="3200" b="1" dirty="0" smtClean="0">
                <a:latin typeface="+mn-lt"/>
              </a:rPr>
              <a:t>  </a:t>
            </a:r>
            <a:endParaRPr lang="ru-RU" sz="3200" b="1" dirty="0">
              <a:latin typeface="+mn-lt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45" t="17430" r="12761" b="5496"/>
          <a:stretch/>
        </p:blipFill>
        <p:spPr bwMode="auto">
          <a:xfrm>
            <a:off x="725214" y="1219939"/>
            <a:ext cx="10628586" cy="5638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2703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kyZ7TGfEaUls7Pdxsk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1fW6YbSyaQ5HzV2W5Y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1fW6YbSyaQ5HzV2W5Y4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X_cBjmR52ADyCCNcvs4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kyZ7TGfEaUls7Pdxsk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/Times New Roman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8</TotalTime>
  <Words>2260</Words>
  <Application>Microsoft Office PowerPoint</Application>
  <PresentationFormat>Произвольный</PresentationFormat>
  <Paragraphs>360</Paragraphs>
  <Slides>1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0" baseType="lpstr">
      <vt:lpstr>Тема Office</vt:lpstr>
      <vt:lpstr>think-cell Slide</vt:lpstr>
      <vt:lpstr>Деятельность Учебно-методического объединения в рамках формата Группы управления проектами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имер проекта: Привлечение иностранных студентов</vt:lpstr>
      <vt:lpstr>Пример проекта: Привлечение иностранных студентов</vt:lpstr>
      <vt:lpstr>Презентация PowerPoint</vt:lpstr>
      <vt:lpstr>Презентация PowerPoint</vt:lpstr>
      <vt:lpstr>Пример проекта: Привлечение иностранных студентов</vt:lpstr>
      <vt:lpstr>ПРОЕКТ РЕШЕНИЯ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Админ</cp:lastModifiedBy>
  <cp:revision>214</cp:revision>
  <dcterms:created xsi:type="dcterms:W3CDTF">2019-10-03T10:57:13Z</dcterms:created>
  <dcterms:modified xsi:type="dcterms:W3CDTF">2019-12-04T09:29:57Z</dcterms:modified>
</cp:coreProperties>
</file>